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21"/>
  </p:notesMasterIdLst>
  <p:handoutMasterIdLst>
    <p:handoutMasterId r:id="rId22"/>
  </p:handoutMasterIdLst>
  <p:sldIdLst>
    <p:sldId id="10222" r:id="rId5"/>
    <p:sldId id="1735" r:id="rId6"/>
    <p:sldId id="10229" r:id="rId7"/>
    <p:sldId id="10226" r:id="rId8"/>
    <p:sldId id="1786" r:id="rId9"/>
    <p:sldId id="10223" r:id="rId10"/>
    <p:sldId id="10231" r:id="rId11"/>
    <p:sldId id="10232" r:id="rId12"/>
    <p:sldId id="10233" r:id="rId13"/>
    <p:sldId id="10234" r:id="rId14"/>
    <p:sldId id="10235" r:id="rId15"/>
    <p:sldId id="10236" r:id="rId16"/>
    <p:sldId id="10237" r:id="rId17"/>
    <p:sldId id="1796" r:id="rId18"/>
    <p:sldId id="1798" r:id="rId19"/>
    <p:sldId id="3129" r:id="rId20"/>
  </p:sldIdLst>
  <p:sldSz cx="12192000" cy="6858000"/>
  <p:notesSz cx="6858000" cy="9144000"/>
  <p:embeddedFontLst>
    <p:embeddedFont>
      <p:font typeface="Calibri" panose="020F0502020204030204" pitchFamily="34" charset="0"/>
      <p:regular r:id="rId23"/>
      <p:bold r:id="rId24"/>
      <p:italic r:id="rId25"/>
      <p:boldItalic r:id="rId26"/>
    </p:embeddedFont>
    <p:embeddedFont>
      <p:font typeface="Segoe UI" panose="020B0502040204020203" pitchFamily="34" charset="0"/>
      <p:regular r:id="rId27"/>
      <p:bold r:id="rId28"/>
      <p:italic r:id="rId29"/>
      <p:boldItalic r:id="rId30"/>
    </p:embeddedFont>
    <p:embeddedFont>
      <p:font typeface="Segoe UI Semibold" panose="020B0702040204020203" pitchFamily="34" charset="0"/>
      <p:bold r:id="rId31"/>
      <p:boldItalic r:id="rId32"/>
    </p:embeddedFont>
  </p:embeddedFont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21B1A5-D364-4F35-B9BF-77E769BA318D}">
          <p14:sldIdLst>
            <p14:sldId id="10222"/>
            <p14:sldId id="1735"/>
            <p14:sldId id="10229"/>
            <p14:sldId id="10226"/>
            <p14:sldId id="1786"/>
            <p14:sldId id="10223"/>
            <p14:sldId id="10231"/>
            <p14:sldId id="10232"/>
            <p14:sldId id="10233"/>
            <p14:sldId id="10234"/>
            <p14:sldId id="10235"/>
            <p14:sldId id="10236"/>
            <p14:sldId id="10237"/>
            <p14:sldId id="1796"/>
            <p14:sldId id="1798"/>
            <p14:sldId id="312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57E771-835D-C040-2A87-12315FD7509C}" name="Roman Abylkhatov" initials="RA" userId="S::roabylkh@microsoft.com::2e959579-b379-4599-8299-cd2bab77a390" providerId="AD"/>
  <p188:author id="{57E0A2A4-5434-4E7D-8F7E-22FCD266A2B6}" name="Reed Wolfe" initials="RW" userId="S::reedw@microsoft.com::d05f6079-100b-4fbc-abf2-3407048ef9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569"/>
    <a:srgbClr val="1392B3"/>
    <a:srgbClr val="505050"/>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65BD8B-187F-9A0A-2D57-A0275826B5D1}" v="1" dt="2021-11-29T18:02:37.2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96"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microsoft.com/office/2016/11/relationships/changesInfo" Target="changesInfos/changesInfo1.xml"/><Relationship Id="rId21" Type="http://schemas.openxmlformats.org/officeDocument/2006/relationships/notesMaster" Target="notesMasters/notesMaster1.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ed Wolfe" userId="d05f6079-100b-4fbc-abf2-3407048ef9c5" providerId="ADAL" clId="{D34C5CF5-3A29-4FCF-885C-A575D13843A8}"/>
    <pc:docChg chg="custSel addSld modSld modSection">
      <pc:chgData name="Reed Wolfe" userId="d05f6079-100b-4fbc-abf2-3407048ef9c5" providerId="ADAL" clId="{D34C5CF5-3A29-4FCF-885C-A575D13843A8}" dt="2021-02-25T14:31:56.709" v="1386" actId="20577"/>
      <pc:docMkLst>
        <pc:docMk/>
      </pc:docMkLst>
      <pc:sldChg chg="modSp mod">
        <pc:chgData name="Reed Wolfe" userId="d05f6079-100b-4fbc-abf2-3407048ef9c5" providerId="ADAL" clId="{D34C5CF5-3A29-4FCF-885C-A575D13843A8}" dt="2021-01-29T21:20:13.704" v="543" actId="207"/>
        <pc:sldMkLst>
          <pc:docMk/>
          <pc:sldMk cId="1094870920" sldId="1735"/>
        </pc:sldMkLst>
        <pc:spChg chg="mod">
          <ac:chgData name="Reed Wolfe" userId="d05f6079-100b-4fbc-abf2-3407048ef9c5" providerId="ADAL" clId="{D34C5CF5-3A29-4FCF-885C-A575D13843A8}" dt="2021-01-29T21:20:13.704" v="543" actId="207"/>
          <ac:spMkLst>
            <pc:docMk/>
            <pc:sldMk cId="1094870920" sldId="1735"/>
            <ac:spMk id="41" creationId="{177907F9-2172-46A3-AEA0-8DD4122F217B}"/>
          </ac:spMkLst>
        </pc:spChg>
      </pc:sldChg>
      <pc:sldChg chg="modSp mod addCm delCm">
        <pc:chgData name="Reed Wolfe" userId="d05f6079-100b-4fbc-abf2-3407048ef9c5" providerId="ADAL" clId="{D34C5CF5-3A29-4FCF-885C-A575D13843A8}" dt="2021-02-11T14:18:19.939" v="1322" actId="404"/>
        <pc:sldMkLst>
          <pc:docMk/>
          <pc:sldMk cId="2345068032" sldId="1786"/>
        </pc:sldMkLst>
        <pc:spChg chg="mod">
          <ac:chgData name="Reed Wolfe" userId="d05f6079-100b-4fbc-abf2-3407048ef9c5" providerId="ADAL" clId="{D34C5CF5-3A29-4FCF-885C-A575D13843A8}" dt="2021-01-29T21:20:05.529" v="542" actId="207"/>
          <ac:spMkLst>
            <pc:docMk/>
            <pc:sldMk cId="2345068032" sldId="1786"/>
            <ac:spMk id="2" creationId="{45010FE8-BF09-4146-B084-66CB05B66FD9}"/>
          </ac:spMkLst>
        </pc:spChg>
        <pc:spChg chg="mod">
          <ac:chgData name="Reed Wolfe" userId="d05f6079-100b-4fbc-abf2-3407048ef9c5" providerId="ADAL" clId="{D34C5CF5-3A29-4FCF-885C-A575D13843A8}" dt="2021-01-29T21:19:53.831" v="541" actId="207"/>
          <ac:spMkLst>
            <pc:docMk/>
            <pc:sldMk cId="2345068032" sldId="1786"/>
            <ac:spMk id="11" creationId="{76583F2C-13BC-4FA8-A9DE-F1F764C38F10}"/>
          </ac:spMkLst>
        </pc:spChg>
        <pc:graphicFrameChg chg="mod modGraphic">
          <ac:chgData name="Reed Wolfe" userId="d05f6079-100b-4fbc-abf2-3407048ef9c5" providerId="ADAL" clId="{D34C5CF5-3A29-4FCF-885C-A575D13843A8}" dt="2021-02-11T14:18:19.939" v="1322" actId="404"/>
          <ac:graphicFrameMkLst>
            <pc:docMk/>
            <pc:sldMk cId="2345068032" sldId="1786"/>
            <ac:graphicFrameMk id="4" creationId="{9E04F86D-C834-4ACE-86A6-012EE8D90DEB}"/>
          </ac:graphicFrameMkLst>
        </pc:graphicFrameChg>
      </pc:sldChg>
      <pc:sldChg chg="modCm">
        <pc:chgData name="Reed Wolfe" userId="d05f6079-100b-4fbc-abf2-3407048ef9c5" providerId="ADAL" clId="{D34C5CF5-3A29-4FCF-885C-A575D13843A8}" dt="2021-01-29T17:18:54.200" v="240"/>
        <pc:sldMkLst>
          <pc:docMk/>
          <pc:sldMk cId="3071064459" sldId="1795"/>
        </pc:sldMkLst>
      </pc:sldChg>
      <pc:sldChg chg="modSp add mod">
        <pc:chgData name="Reed Wolfe" userId="d05f6079-100b-4fbc-abf2-3407048ef9c5" providerId="ADAL" clId="{D34C5CF5-3A29-4FCF-885C-A575D13843A8}" dt="2021-02-25T14:22:59.418" v="1379" actId="20577"/>
        <pc:sldMkLst>
          <pc:docMk/>
          <pc:sldMk cId="1304563117" sldId="3093"/>
        </pc:sldMkLst>
        <pc:spChg chg="mod">
          <ac:chgData name="Reed Wolfe" userId="d05f6079-100b-4fbc-abf2-3407048ef9c5" providerId="ADAL" clId="{D34C5CF5-3A29-4FCF-885C-A575D13843A8}" dt="2021-02-25T14:22:59.418" v="1379" actId="20577"/>
          <ac:spMkLst>
            <pc:docMk/>
            <pc:sldMk cId="1304563117" sldId="3093"/>
            <ac:spMk id="4" creationId="{7CE4786D-C856-4ED1-AD42-4D6D5704E74E}"/>
          </ac:spMkLst>
        </pc:spChg>
      </pc:sldChg>
      <pc:sldChg chg="addSp delSp modSp add mod addCm delCm modCm">
        <pc:chgData name="Reed Wolfe" userId="d05f6079-100b-4fbc-abf2-3407048ef9c5" providerId="ADAL" clId="{D34C5CF5-3A29-4FCF-885C-A575D13843A8}" dt="2021-02-11T14:09:20.669" v="1240"/>
        <pc:sldMkLst>
          <pc:docMk/>
          <pc:sldMk cId="856216650" sldId="10223"/>
        </pc:sldMkLst>
        <pc:spChg chg="mod">
          <ac:chgData name="Reed Wolfe" userId="d05f6079-100b-4fbc-abf2-3407048ef9c5" providerId="ADAL" clId="{D34C5CF5-3A29-4FCF-885C-A575D13843A8}" dt="2021-01-29T17:10:28.803" v="103" actId="14100"/>
          <ac:spMkLst>
            <pc:docMk/>
            <pc:sldMk cId="856216650" sldId="10223"/>
            <ac:spMk id="3" creationId="{4227308A-4FE9-4C05-BB5D-16C9B8CF8C09}"/>
          </ac:spMkLst>
        </pc:spChg>
        <pc:spChg chg="mod">
          <ac:chgData name="Reed Wolfe" userId="d05f6079-100b-4fbc-abf2-3407048ef9c5" providerId="ADAL" clId="{D34C5CF5-3A29-4FCF-885C-A575D13843A8}" dt="2021-01-29T17:35:17.676" v="414" actId="20577"/>
          <ac:spMkLst>
            <pc:docMk/>
            <pc:sldMk cId="856216650" sldId="10223"/>
            <ac:spMk id="4" creationId="{AD877597-C58A-4F11-971F-738C8C342DDF}"/>
          </ac:spMkLst>
        </pc:spChg>
        <pc:spChg chg="mod">
          <ac:chgData name="Reed Wolfe" userId="d05f6079-100b-4fbc-abf2-3407048ef9c5" providerId="ADAL" clId="{D34C5CF5-3A29-4FCF-885C-A575D13843A8}" dt="2021-01-29T17:10:19.693" v="101" actId="6549"/>
          <ac:spMkLst>
            <pc:docMk/>
            <pc:sldMk cId="856216650" sldId="10223"/>
            <ac:spMk id="5" creationId="{E5DC63EE-DBB0-49B8-A6C8-6875675C302B}"/>
          </ac:spMkLst>
        </pc:spChg>
        <pc:spChg chg="add mod">
          <ac:chgData name="Reed Wolfe" userId="d05f6079-100b-4fbc-abf2-3407048ef9c5" providerId="ADAL" clId="{D34C5CF5-3A29-4FCF-885C-A575D13843A8}" dt="2021-01-29T17:15:39.795" v="238" actId="1036"/>
          <ac:spMkLst>
            <pc:docMk/>
            <pc:sldMk cId="856216650" sldId="10223"/>
            <ac:spMk id="6" creationId="{B42DDD8B-A225-4AEC-B7E5-73014FBF653C}"/>
          </ac:spMkLst>
        </pc:spChg>
        <pc:spChg chg="mod topLvl">
          <ac:chgData name="Reed Wolfe" userId="d05f6079-100b-4fbc-abf2-3407048ef9c5" providerId="ADAL" clId="{D34C5CF5-3A29-4FCF-885C-A575D13843A8}" dt="2021-01-29T17:25:20.824" v="306" actId="20577"/>
          <ac:spMkLst>
            <pc:docMk/>
            <pc:sldMk cId="856216650" sldId="10223"/>
            <ac:spMk id="15" creationId="{4D635081-5C14-4453-98A4-27FF3E58A236}"/>
          </ac:spMkLst>
        </pc:spChg>
        <pc:spChg chg="del mod topLvl">
          <ac:chgData name="Reed Wolfe" userId="d05f6079-100b-4fbc-abf2-3407048ef9c5" providerId="ADAL" clId="{D34C5CF5-3A29-4FCF-885C-A575D13843A8}" dt="2021-01-29T17:13:47.645" v="158" actId="478"/>
          <ac:spMkLst>
            <pc:docMk/>
            <pc:sldMk cId="856216650" sldId="10223"/>
            <ac:spMk id="17" creationId="{B2C3C4D6-0283-4AF1-AD02-40BCAA01A15E}"/>
          </ac:spMkLst>
        </pc:spChg>
        <pc:spChg chg="mod">
          <ac:chgData name="Reed Wolfe" userId="d05f6079-100b-4fbc-abf2-3407048ef9c5" providerId="ADAL" clId="{D34C5CF5-3A29-4FCF-885C-A575D13843A8}" dt="2021-01-29T17:10:39.965" v="108" actId="6549"/>
          <ac:spMkLst>
            <pc:docMk/>
            <pc:sldMk cId="856216650" sldId="10223"/>
            <ac:spMk id="31" creationId="{A09AA2CA-4C58-4921-95C0-FB68D16FB9B7}"/>
          </ac:spMkLst>
        </pc:spChg>
        <pc:spChg chg="mod">
          <ac:chgData name="Reed Wolfe" userId="d05f6079-100b-4fbc-abf2-3407048ef9c5" providerId="ADAL" clId="{D34C5CF5-3A29-4FCF-885C-A575D13843A8}" dt="2021-01-29T17:11:41.699" v="145" actId="6549"/>
          <ac:spMkLst>
            <pc:docMk/>
            <pc:sldMk cId="856216650" sldId="10223"/>
            <ac:spMk id="33" creationId="{F0C1CE1F-5742-4079-A4DA-DA19F30BA6F7}"/>
          </ac:spMkLst>
        </pc:spChg>
        <pc:spChg chg="mod">
          <ac:chgData name="Reed Wolfe" userId="d05f6079-100b-4fbc-abf2-3407048ef9c5" providerId="ADAL" clId="{D34C5CF5-3A29-4FCF-885C-A575D13843A8}" dt="2021-01-29T17:26:16.163" v="385" actId="20577"/>
          <ac:spMkLst>
            <pc:docMk/>
            <pc:sldMk cId="856216650" sldId="10223"/>
            <ac:spMk id="46" creationId="{423E3344-0D3E-40C6-A30D-D9146C16FFD2}"/>
          </ac:spMkLst>
        </pc:spChg>
        <pc:grpChg chg="mod">
          <ac:chgData name="Reed Wolfe" userId="d05f6079-100b-4fbc-abf2-3407048ef9c5" providerId="ADAL" clId="{D34C5CF5-3A29-4FCF-885C-A575D13843A8}" dt="2021-01-29T17:15:08.123" v="223" actId="14100"/>
          <ac:grpSpMkLst>
            <pc:docMk/>
            <pc:sldMk cId="856216650" sldId="10223"/>
            <ac:grpSpMk id="11" creationId="{6504A98E-E14A-459E-A6D7-D40EC085CB99}"/>
          </ac:grpSpMkLst>
        </pc:grpChg>
        <pc:grpChg chg="mod">
          <ac:chgData name="Reed Wolfe" userId="d05f6079-100b-4fbc-abf2-3407048ef9c5" providerId="ADAL" clId="{D34C5CF5-3A29-4FCF-885C-A575D13843A8}" dt="2021-01-29T17:15:22.988" v="224" actId="14100"/>
          <ac:grpSpMkLst>
            <pc:docMk/>
            <pc:sldMk cId="856216650" sldId="10223"/>
            <ac:grpSpMk id="12" creationId="{9DF4793B-AFEC-46EE-9F44-A21420608D69}"/>
          </ac:grpSpMkLst>
        </pc:grpChg>
        <pc:grpChg chg="add del mod">
          <ac:chgData name="Reed Wolfe" userId="d05f6079-100b-4fbc-abf2-3407048ef9c5" providerId="ADAL" clId="{D34C5CF5-3A29-4FCF-885C-A575D13843A8}" dt="2021-01-29T17:13:47.645" v="158" actId="478"/>
          <ac:grpSpMkLst>
            <pc:docMk/>
            <pc:sldMk cId="856216650" sldId="10223"/>
            <ac:grpSpMk id="14" creationId="{59D56263-1F39-4B15-AFA7-C040F34484F1}"/>
          </ac:grpSpMkLst>
        </pc:grpChg>
      </pc:sldChg>
      <pc:sldChg chg="modSp mod modNotesTx">
        <pc:chgData name="Reed Wolfe" userId="d05f6079-100b-4fbc-abf2-3407048ef9c5" providerId="ADAL" clId="{D34C5CF5-3A29-4FCF-885C-A575D13843A8}" dt="2021-02-11T14:20:17.294" v="1328" actId="1038"/>
        <pc:sldMkLst>
          <pc:docMk/>
          <pc:sldMk cId="2744971081" sldId="10226"/>
        </pc:sldMkLst>
        <pc:grpChg chg="mod">
          <ac:chgData name="Reed Wolfe" userId="d05f6079-100b-4fbc-abf2-3407048ef9c5" providerId="ADAL" clId="{D34C5CF5-3A29-4FCF-885C-A575D13843A8}" dt="2021-02-11T14:20:17.294" v="1328" actId="1038"/>
          <ac:grpSpMkLst>
            <pc:docMk/>
            <pc:sldMk cId="2744971081" sldId="10226"/>
            <ac:grpSpMk id="19" creationId="{72EB8C5C-B697-4A72-B004-8BB13B09543F}"/>
          </ac:grpSpMkLst>
        </pc:grpChg>
      </pc:sldChg>
      <pc:sldChg chg="modSp mod">
        <pc:chgData name="Reed Wolfe" userId="d05f6079-100b-4fbc-abf2-3407048ef9c5" providerId="ADAL" clId="{D34C5CF5-3A29-4FCF-885C-A575D13843A8}" dt="2021-02-25T14:31:56.709" v="1386" actId="20577"/>
        <pc:sldMkLst>
          <pc:docMk/>
          <pc:sldMk cId="3311876511" sldId="10229"/>
        </pc:sldMkLst>
        <pc:spChg chg="mod">
          <ac:chgData name="Reed Wolfe" userId="d05f6079-100b-4fbc-abf2-3407048ef9c5" providerId="ADAL" clId="{D34C5CF5-3A29-4FCF-885C-A575D13843A8}" dt="2021-02-25T14:29:08.534" v="1380" actId="20577"/>
          <ac:spMkLst>
            <pc:docMk/>
            <pc:sldMk cId="3311876511" sldId="10229"/>
            <ac:spMk id="15" creationId="{CBDE199F-738C-48F9-B2A1-07D56F822D7E}"/>
          </ac:spMkLst>
        </pc:spChg>
        <pc:spChg chg="mod">
          <ac:chgData name="Reed Wolfe" userId="d05f6079-100b-4fbc-abf2-3407048ef9c5" providerId="ADAL" clId="{D34C5CF5-3A29-4FCF-885C-A575D13843A8}" dt="2021-02-25T14:29:13.061" v="1381" actId="20577"/>
          <ac:spMkLst>
            <pc:docMk/>
            <pc:sldMk cId="3311876511" sldId="10229"/>
            <ac:spMk id="20" creationId="{A76BCD27-A91E-41A2-9AE0-9E606EDC08EC}"/>
          </ac:spMkLst>
        </pc:spChg>
        <pc:spChg chg="mod">
          <ac:chgData name="Reed Wolfe" userId="d05f6079-100b-4fbc-abf2-3407048ef9c5" providerId="ADAL" clId="{D34C5CF5-3A29-4FCF-885C-A575D13843A8}" dt="2021-02-25T14:31:56.709" v="1386" actId="20577"/>
          <ac:spMkLst>
            <pc:docMk/>
            <pc:sldMk cId="3311876511" sldId="10229"/>
            <ac:spMk id="26" creationId="{663C5757-1699-4EEC-B106-3EDCEBC77B60}"/>
          </ac:spMkLst>
        </pc:spChg>
      </pc:sldChg>
      <pc:sldMasterChg chg="addSldLayout modSldLayout">
        <pc:chgData name="Reed Wolfe" userId="d05f6079-100b-4fbc-abf2-3407048ef9c5" providerId="ADAL" clId="{D34C5CF5-3A29-4FCF-885C-A575D13843A8}" dt="2021-02-25T14:18:35.837" v="1329" actId="22"/>
        <pc:sldMasterMkLst>
          <pc:docMk/>
          <pc:sldMasterMk cId="993860654" sldId="2147483660"/>
        </pc:sldMasterMkLst>
        <pc:sldLayoutChg chg="add mod">
          <pc:chgData name="Reed Wolfe" userId="d05f6079-100b-4fbc-abf2-3407048ef9c5" providerId="ADAL" clId="{D34C5CF5-3A29-4FCF-885C-A575D13843A8}" dt="2021-02-25T14:18:35.837" v="1329" actId="22"/>
          <pc:sldLayoutMkLst>
            <pc:docMk/>
            <pc:sldMasterMk cId="993860654" sldId="2147483660"/>
            <pc:sldLayoutMk cId="335699688" sldId="2147483704"/>
          </pc:sldLayoutMkLst>
        </pc:sldLayoutChg>
      </pc:sldMasterChg>
    </pc:docChg>
  </pc:docChgLst>
  <pc:docChgLst>
    <pc:chgData name="Darren Liu" userId="a827a500-99cf-46af-9626-c1cd8c563e3d" providerId="ADAL" clId="{CC1C0C82-7462-49F6-AC5B-BC1EA6E2469F}"/>
    <pc:docChg chg="undo custSel addSld delSld sldOrd modSection">
      <pc:chgData name="Darren Liu" userId="a827a500-99cf-46af-9626-c1cd8c563e3d" providerId="ADAL" clId="{CC1C0C82-7462-49F6-AC5B-BC1EA6E2469F}" dt="2020-03-10T14:27:24.892" v="2" actId="680"/>
      <pc:docMkLst>
        <pc:docMk/>
      </pc:docMkLst>
      <pc:sldChg chg="ord">
        <pc:chgData name="Darren Liu" userId="a827a500-99cf-46af-9626-c1cd8c563e3d" providerId="ADAL" clId="{CC1C0C82-7462-49F6-AC5B-BC1EA6E2469F}" dt="2020-03-10T14:16:48.328" v="0" actId="20578"/>
        <pc:sldMkLst>
          <pc:docMk/>
          <pc:sldMk cId="2271845760" sldId="1800"/>
        </pc:sldMkLst>
      </pc:sldChg>
      <pc:sldChg chg="new del">
        <pc:chgData name="Darren Liu" userId="a827a500-99cf-46af-9626-c1cd8c563e3d" providerId="ADAL" clId="{CC1C0C82-7462-49F6-AC5B-BC1EA6E2469F}" dt="2020-03-10T14:27:24.892" v="2" actId="680"/>
        <pc:sldMkLst>
          <pc:docMk/>
          <pc:sldMk cId="3051067224" sldId="10221"/>
        </pc:sldMkLst>
      </pc:sldChg>
    </pc:docChg>
  </pc:docChgLst>
  <pc:docChgLst>
    <pc:chgData name="Reed Wolfe" userId="S::reedw@microsoft.com::d05f6079-100b-4fbc-abf2-3407048ef9c5" providerId="AD" clId="Web-{A69664A0-636C-B506-DCB5-C20D577D6778}"/>
    <pc:docChg chg="modSld">
      <pc:chgData name="Reed Wolfe" userId="S::reedw@microsoft.com::d05f6079-100b-4fbc-abf2-3407048ef9c5" providerId="AD" clId="Web-{A69664A0-636C-B506-DCB5-C20D577D6778}" dt="2021-03-23T14:26:38.311" v="161" actId="20577"/>
      <pc:docMkLst>
        <pc:docMk/>
      </pc:docMkLst>
      <pc:sldChg chg="addSp modSp">
        <pc:chgData name="Reed Wolfe" userId="S::reedw@microsoft.com::d05f6079-100b-4fbc-abf2-3407048ef9c5" providerId="AD" clId="Web-{A69664A0-636C-B506-DCB5-C20D577D6778}" dt="2021-03-23T14:25:12.499" v="151" actId="1076"/>
        <pc:sldMkLst>
          <pc:docMk/>
          <pc:sldMk cId="2345068032" sldId="1786"/>
        </pc:sldMkLst>
        <pc:spChg chg="add mod">
          <ac:chgData name="Reed Wolfe" userId="S::reedw@microsoft.com::d05f6079-100b-4fbc-abf2-3407048ef9c5" providerId="AD" clId="Web-{A69664A0-636C-B506-DCB5-C20D577D6778}" dt="2021-03-23T14:25:12.499" v="151" actId="1076"/>
          <ac:spMkLst>
            <pc:docMk/>
            <pc:sldMk cId="2345068032" sldId="1786"/>
            <ac:spMk id="5" creationId="{DE90AA16-4FC3-4506-836C-0A36A9087C41}"/>
          </ac:spMkLst>
        </pc:spChg>
        <pc:spChg chg="mod">
          <ac:chgData name="Reed Wolfe" userId="S::reedw@microsoft.com::d05f6079-100b-4fbc-abf2-3407048ef9c5" providerId="AD" clId="Web-{A69664A0-636C-B506-DCB5-C20D577D6778}" dt="2021-03-23T14:23:32.156" v="46" actId="20577"/>
          <ac:spMkLst>
            <pc:docMk/>
            <pc:sldMk cId="2345068032" sldId="1786"/>
            <ac:spMk id="9" creationId="{5F10B7DA-EBAD-49D8-8636-A3336D68F659}"/>
          </ac:spMkLst>
        </pc:spChg>
        <pc:graphicFrameChg chg="mod modGraphic">
          <ac:chgData name="Reed Wolfe" userId="S::reedw@microsoft.com::d05f6079-100b-4fbc-abf2-3407048ef9c5" providerId="AD" clId="Web-{A69664A0-636C-B506-DCB5-C20D577D6778}" dt="2021-03-23T14:24:02.312" v="138"/>
          <ac:graphicFrameMkLst>
            <pc:docMk/>
            <pc:sldMk cId="2345068032" sldId="1786"/>
            <ac:graphicFrameMk id="4" creationId="{9E04F86D-C834-4ACE-86A6-012EE8D90DEB}"/>
          </ac:graphicFrameMkLst>
        </pc:graphicFrameChg>
      </pc:sldChg>
      <pc:sldChg chg="modSp">
        <pc:chgData name="Reed Wolfe" userId="S::reedw@microsoft.com::d05f6079-100b-4fbc-abf2-3407048ef9c5" providerId="AD" clId="Web-{A69664A0-636C-B506-DCB5-C20D577D6778}" dt="2021-03-23T14:25:45.170" v="155" actId="20577"/>
        <pc:sldMkLst>
          <pc:docMk/>
          <pc:sldMk cId="855631851" sldId="1796"/>
        </pc:sldMkLst>
        <pc:spChg chg="mod">
          <ac:chgData name="Reed Wolfe" userId="S::reedw@microsoft.com::d05f6079-100b-4fbc-abf2-3407048ef9c5" providerId="AD" clId="Web-{A69664A0-636C-B506-DCB5-C20D577D6778}" dt="2021-03-23T14:25:45.170" v="155" actId="20577"/>
          <ac:spMkLst>
            <pc:docMk/>
            <pc:sldMk cId="855631851" sldId="1796"/>
            <ac:spMk id="9" creationId="{7BCE2C40-90DB-4FC2-953D-507B8E0183F5}"/>
          </ac:spMkLst>
        </pc:spChg>
      </pc:sldChg>
      <pc:sldChg chg="modSp">
        <pc:chgData name="Reed Wolfe" userId="S::reedw@microsoft.com::d05f6079-100b-4fbc-abf2-3407048ef9c5" providerId="AD" clId="Web-{A69664A0-636C-B506-DCB5-C20D577D6778}" dt="2021-03-23T14:25:50.061" v="156" actId="20577"/>
        <pc:sldMkLst>
          <pc:docMk/>
          <pc:sldMk cId="2633977528" sldId="1798"/>
        </pc:sldMkLst>
        <pc:spChg chg="mod">
          <ac:chgData name="Reed Wolfe" userId="S::reedw@microsoft.com::d05f6079-100b-4fbc-abf2-3407048ef9c5" providerId="AD" clId="Web-{A69664A0-636C-B506-DCB5-C20D577D6778}" dt="2021-03-23T14:25:50.061" v="156" actId="20577"/>
          <ac:spMkLst>
            <pc:docMk/>
            <pc:sldMk cId="2633977528" sldId="1798"/>
            <ac:spMk id="9" creationId="{87A46D8A-4DC1-4337-8C6F-46DCD83BAF11}"/>
          </ac:spMkLst>
        </pc:spChg>
      </pc:sldChg>
      <pc:sldChg chg="modSp">
        <pc:chgData name="Reed Wolfe" userId="S::reedw@microsoft.com::d05f6079-100b-4fbc-abf2-3407048ef9c5" providerId="AD" clId="Web-{A69664A0-636C-B506-DCB5-C20D577D6778}" dt="2021-03-23T14:25:22.249" v="152" actId="20577"/>
        <pc:sldMkLst>
          <pc:docMk/>
          <pc:sldMk cId="856216650" sldId="10223"/>
        </pc:sldMkLst>
        <pc:spChg chg="mod">
          <ac:chgData name="Reed Wolfe" userId="S::reedw@microsoft.com::d05f6079-100b-4fbc-abf2-3407048ef9c5" providerId="AD" clId="Web-{A69664A0-636C-B506-DCB5-C20D577D6778}" dt="2021-03-23T14:25:22.249" v="152" actId="20577"/>
          <ac:spMkLst>
            <pc:docMk/>
            <pc:sldMk cId="856216650" sldId="10223"/>
            <ac:spMk id="52" creationId="{F23E2C28-CB8E-4744-9410-C2E970FCFB05}"/>
          </ac:spMkLst>
        </pc:spChg>
      </pc:sldChg>
      <pc:sldChg chg="modSp">
        <pc:chgData name="Reed Wolfe" userId="S::reedw@microsoft.com::d05f6079-100b-4fbc-abf2-3407048ef9c5" providerId="AD" clId="Web-{A69664A0-636C-B506-DCB5-C20D577D6778}" dt="2021-03-23T14:26:38.311" v="161" actId="20577"/>
        <pc:sldMkLst>
          <pc:docMk/>
          <pc:sldMk cId="2351599916" sldId="10227"/>
        </pc:sldMkLst>
        <pc:spChg chg="mod">
          <ac:chgData name="Reed Wolfe" userId="S::reedw@microsoft.com::d05f6079-100b-4fbc-abf2-3407048ef9c5" providerId="AD" clId="Web-{A69664A0-636C-B506-DCB5-C20D577D6778}" dt="2021-03-23T14:26:20.592" v="157" actId="20577"/>
          <ac:spMkLst>
            <pc:docMk/>
            <pc:sldMk cId="2351599916" sldId="10227"/>
            <ac:spMk id="2" creationId="{45010FE8-BF09-4146-B084-66CB05B66FD9}"/>
          </ac:spMkLst>
        </pc:spChg>
        <pc:spChg chg="mod">
          <ac:chgData name="Reed Wolfe" userId="S::reedw@microsoft.com::d05f6079-100b-4fbc-abf2-3407048ef9c5" providerId="AD" clId="Web-{A69664A0-636C-B506-DCB5-C20D577D6778}" dt="2021-03-23T14:26:25.639" v="158" actId="20577"/>
          <ac:spMkLst>
            <pc:docMk/>
            <pc:sldMk cId="2351599916" sldId="10227"/>
            <ac:spMk id="3" creationId="{4227308A-4FE9-4C05-BB5D-16C9B8CF8C09}"/>
          </ac:spMkLst>
        </pc:spChg>
        <pc:spChg chg="mod">
          <ac:chgData name="Reed Wolfe" userId="S::reedw@microsoft.com::d05f6079-100b-4fbc-abf2-3407048ef9c5" providerId="AD" clId="Web-{A69664A0-636C-B506-DCB5-C20D577D6778}" dt="2021-03-23T14:26:35.748" v="160" actId="20577"/>
          <ac:spMkLst>
            <pc:docMk/>
            <pc:sldMk cId="2351599916" sldId="10227"/>
            <ac:spMk id="4" creationId="{AD877597-C58A-4F11-971F-738C8C342DDF}"/>
          </ac:spMkLst>
        </pc:spChg>
        <pc:spChg chg="mod">
          <ac:chgData name="Reed Wolfe" userId="S::reedw@microsoft.com::d05f6079-100b-4fbc-abf2-3407048ef9c5" providerId="AD" clId="Web-{A69664A0-636C-B506-DCB5-C20D577D6778}" dt="2021-03-23T14:26:38.311" v="161" actId="20577"/>
          <ac:spMkLst>
            <pc:docMk/>
            <pc:sldMk cId="2351599916" sldId="10227"/>
            <ac:spMk id="15" creationId="{4D635081-5C14-4453-98A4-27FF3E58A236}"/>
          </ac:spMkLst>
        </pc:spChg>
        <pc:spChg chg="mod">
          <ac:chgData name="Reed Wolfe" userId="S::reedw@microsoft.com::d05f6079-100b-4fbc-abf2-3407048ef9c5" providerId="AD" clId="Web-{A69664A0-636C-B506-DCB5-C20D577D6778}" dt="2021-03-23T14:26:30.905" v="159" actId="20577"/>
          <ac:spMkLst>
            <pc:docMk/>
            <pc:sldMk cId="2351599916" sldId="10227"/>
            <ac:spMk id="46" creationId="{423E3344-0D3E-40C6-A30D-D9146C16FFD2}"/>
          </ac:spMkLst>
        </pc:spChg>
        <pc:spChg chg="mod">
          <ac:chgData name="Reed Wolfe" userId="S::reedw@microsoft.com::d05f6079-100b-4fbc-abf2-3407048ef9c5" providerId="AD" clId="Web-{A69664A0-636C-B506-DCB5-C20D577D6778}" dt="2021-03-23T14:25:37.639" v="153" actId="20577"/>
          <ac:spMkLst>
            <pc:docMk/>
            <pc:sldMk cId="2351599916" sldId="10227"/>
            <ac:spMk id="52" creationId="{F23E2C28-CB8E-4744-9410-C2E970FCFB05}"/>
          </ac:spMkLst>
        </pc:spChg>
      </pc:sldChg>
      <pc:sldChg chg="modSp">
        <pc:chgData name="Reed Wolfe" userId="S::reedw@microsoft.com::d05f6079-100b-4fbc-abf2-3407048ef9c5" providerId="AD" clId="Web-{A69664A0-636C-B506-DCB5-C20D577D6778}" dt="2021-03-23T14:25:42.592" v="154" actId="20577"/>
        <pc:sldMkLst>
          <pc:docMk/>
          <pc:sldMk cId="1536065476" sldId="10228"/>
        </pc:sldMkLst>
        <pc:spChg chg="mod">
          <ac:chgData name="Reed Wolfe" userId="S::reedw@microsoft.com::d05f6079-100b-4fbc-abf2-3407048ef9c5" providerId="AD" clId="Web-{A69664A0-636C-B506-DCB5-C20D577D6778}" dt="2021-03-23T14:25:42.592" v="154" actId="20577"/>
          <ac:spMkLst>
            <pc:docMk/>
            <pc:sldMk cId="1536065476" sldId="10228"/>
            <ac:spMk id="52" creationId="{F23E2C28-CB8E-4744-9410-C2E970FCFB05}"/>
          </ac:spMkLst>
        </pc:spChg>
      </pc:sldChg>
    </pc:docChg>
  </pc:docChgLst>
  <pc:docChgLst>
    <pc:chgData name="Reed Wolfe" userId="S::reedw@microsoft.com::d05f6079-100b-4fbc-abf2-3407048ef9c5" providerId="AD" clId="Web-{0EE1F3A3-3794-84BC-90B8-CB1B8BA111CB}"/>
    <pc:docChg chg="modSld">
      <pc:chgData name="Reed Wolfe" userId="S::reedw@microsoft.com::d05f6079-100b-4fbc-abf2-3407048ef9c5" providerId="AD" clId="Web-{0EE1F3A3-3794-84BC-90B8-CB1B8BA111CB}" dt="2021-06-10T20:38:45.848" v="3" actId="20577"/>
      <pc:docMkLst>
        <pc:docMk/>
      </pc:docMkLst>
      <pc:sldChg chg="modSp">
        <pc:chgData name="Reed Wolfe" userId="S::reedw@microsoft.com::d05f6079-100b-4fbc-abf2-3407048ef9c5" providerId="AD" clId="Web-{0EE1F3A3-3794-84BC-90B8-CB1B8BA111CB}" dt="2021-06-10T20:38:45.848" v="3" actId="20577"/>
        <pc:sldMkLst>
          <pc:docMk/>
          <pc:sldMk cId="1094870920" sldId="1735"/>
        </pc:sldMkLst>
        <pc:spChg chg="mod">
          <ac:chgData name="Reed Wolfe" userId="S::reedw@microsoft.com::d05f6079-100b-4fbc-abf2-3407048ef9c5" providerId="AD" clId="Web-{0EE1F3A3-3794-84BC-90B8-CB1B8BA111CB}" dt="2021-06-10T20:38:45.848" v="3" actId="20577"/>
          <ac:spMkLst>
            <pc:docMk/>
            <pc:sldMk cId="1094870920" sldId="1735"/>
            <ac:spMk id="60" creationId="{1F0B6B51-41D8-4F93-878F-BACE5D1A7680}"/>
          </ac:spMkLst>
        </pc:spChg>
      </pc:sldChg>
    </pc:docChg>
  </pc:docChgLst>
  <pc:docChgLst>
    <pc:chgData name="Reed Wolfe" userId="d05f6079-100b-4fbc-abf2-3407048ef9c5" providerId="ADAL" clId="{7F08F89B-2051-4817-9F19-4F99C1EC9251}"/>
    <pc:docChg chg="modSld">
      <pc:chgData name="Reed Wolfe" userId="d05f6079-100b-4fbc-abf2-3407048ef9c5" providerId="ADAL" clId="{7F08F89B-2051-4817-9F19-4F99C1EC9251}" dt="2021-05-27T13:55:09.332" v="27" actId="20577"/>
      <pc:docMkLst>
        <pc:docMk/>
      </pc:docMkLst>
      <pc:sldChg chg="modSp mod">
        <pc:chgData name="Reed Wolfe" userId="d05f6079-100b-4fbc-abf2-3407048ef9c5" providerId="ADAL" clId="{7F08F89B-2051-4817-9F19-4F99C1EC9251}" dt="2021-05-27T13:54:49.175" v="14" actId="20577"/>
        <pc:sldMkLst>
          <pc:docMk/>
          <pc:sldMk cId="856216650" sldId="10223"/>
        </pc:sldMkLst>
        <pc:spChg chg="mod">
          <ac:chgData name="Reed Wolfe" userId="d05f6079-100b-4fbc-abf2-3407048ef9c5" providerId="ADAL" clId="{7F08F89B-2051-4817-9F19-4F99C1EC9251}" dt="2021-05-27T13:54:49.175" v="14" actId="20577"/>
          <ac:spMkLst>
            <pc:docMk/>
            <pc:sldMk cId="856216650" sldId="10223"/>
            <ac:spMk id="2" creationId="{45010FE8-BF09-4146-B084-66CB05B66FD9}"/>
          </ac:spMkLst>
        </pc:spChg>
      </pc:sldChg>
      <pc:sldChg chg="modSp mod">
        <pc:chgData name="Reed Wolfe" userId="d05f6079-100b-4fbc-abf2-3407048ef9c5" providerId="ADAL" clId="{7F08F89B-2051-4817-9F19-4F99C1EC9251}" dt="2021-05-27T13:55:09.332" v="27" actId="20577"/>
        <pc:sldMkLst>
          <pc:docMk/>
          <pc:sldMk cId="2351599916" sldId="10227"/>
        </pc:sldMkLst>
        <pc:spChg chg="mod">
          <ac:chgData name="Reed Wolfe" userId="d05f6079-100b-4fbc-abf2-3407048ef9c5" providerId="ADAL" clId="{7F08F89B-2051-4817-9F19-4F99C1EC9251}" dt="2021-05-27T13:55:09.332" v="27" actId="20577"/>
          <ac:spMkLst>
            <pc:docMk/>
            <pc:sldMk cId="2351599916" sldId="10227"/>
            <ac:spMk id="2" creationId="{45010FE8-BF09-4146-B084-66CB05B66FD9}"/>
          </ac:spMkLst>
        </pc:spChg>
      </pc:sldChg>
    </pc:docChg>
  </pc:docChgLst>
  <pc:docChgLst>
    <pc:chgData name="Reed Wolfe" userId="S::reedw@microsoft.com::d05f6079-100b-4fbc-abf2-3407048ef9c5" providerId="AD" clId="Web-{5C513A16-4E22-D36D-34AA-96DD7C01CED9}"/>
    <pc:docChg chg="modSld">
      <pc:chgData name="Reed Wolfe" userId="S::reedw@microsoft.com::d05f6079-100b-4fbc-abf2-3407048ef9c5" providerId="AD" clId="Web-{5C513A16-4E22-D36D-34AA-96DD7C01CED9}" dt="2021-06-10T20:04:13.472" v="54" actId="1076"/>
      <pc:docMkLst>
        <pc:docMk/>
      </pc:docMkLst>
      <pc:sldChg chg="modSp">
        <pc:chgData name="Reed Wolfe" userId="S::reedw@microsoft.com::d05f6079-100b-4fbc-abf2-3407048ef9c5" providerId="AD" clId="Web-{5C513A16-4E22-D36D-34AA-96DD7C01CED9}" dt="2021-06-10T16:59:21.150" v="11" actId="20577"/>
        <pc:sldMkLst>
          <pc:docMk/>
          <pc:sldMk cId="1094870920" sldId="1735"/>
        </pc:sldMkLst>
        <pc:spChg chg="mod">
          <ac:chgData name="Reed Wolfe" userId="S::reedw@microsoft.com::d05f6079-100b-4fbc-abf2-3407048ef9c5" providerId="AD" clId="Web-{5C513A16-4E22-D36D-34AA-96DD7C01CED9}" dt="2021-06-10T16:58:58.181" v="7" actId="20577"/>
          <ac:spMkLst>
            <pc:docMk/>
            <pc:sldMk cId="1094870920" sldId="1735"/>
            <ac:spMk id="41" creationId="{177907F9-2172-46A3-AEA0-8DD4122F217B}"/>
          </ac:spMkLst>
        </pc:spChg>
        <pc:spChg chg="mod">
          <ac:chgData name="Reed Wolfe" userId="S::reedw@microsoft.com::d05f6079-100b-4fbc-abf2-3407048ef9c5" providerId="AD" clId="Web-{5C513A16-4E22-D36D-34AA-96DD7C01CED9}" dt="2021-06-10T16:59:21.150" v="11" actId="20577"/>
          <ac:spMkLst>
            <pc:docMk/>
            <pc:sldMk cId="1094870920" sldId="1735"/>
            <ac:spMk id="55" creationId="{D909AFD3-772D-428E-8735-D3CC0F3F9928}"/>
          </ac:spMkLst>
        </pc:spChg>
      </pc:sldChg>
      <pc:sldChg chg="modSp">
        <pc:chgData name="Reed Wolfe" userId="S::reedw@microsoft.com::d05f6079-100b-4fbc-abf2-3407048ef9c5" providerId="AD" clId="Web-{5C513A16-4E22-D36D-34AA-96DD7C01CED9}" dt="2021-06-10T17:01:04.310" v="52" actId="20577"/>
        <pc:sldMkLst>
          <pc:docMk/>
          <pc:sldMk cId="2345068032" sldId="1786"/>
        </pc:sldMkLst>
        <pc:spChg chg="mod">
          <ac:chgData name="Reed Wolfe" userId="S::reedw@microsoft.com::d05f6079-100b-4fbc-abf2-3407048ef9c5" providerId="AD" clId="Web-{5C513A16-4E22-D36D-34AA-96DD7C01CED9}" dt="2021-06-10T17:01:04.310" v="52" actId="20577"/>
          <ac:spMkLst>
            <pc:docMk/>
            <pc:sldMk cId="2345068032" sldId="1786"/>
            <ac:spMk id="2" creationId="{45010FE8-BF09-4146-B084-66CB05B66FD9}"/>
          </ac:spMkLst>
        </pc:spChg>
        <pc:spChg chg="mod">
          <ac:chgData name="Reed Wolfe" userId="S::reedw@microsoft.com::d05f6079-100b-4fbc-abf2-3407048ef9c5" providerId="AD" clId="Web-{5C513A16-4E22-D36D-34AA-96DD7C01CED9}" dt="2021-06-10T17:00:48.263" v="45" actId="20577"/>
          <ac:spMkLst>
            <pc:docMk/>
            <pc:sldMk cId="2345068032" sldId="1786"/>
            <ac:spMk id="11" creationId="{76583F2C-13BC-4FA8-A9DE-F1F764C38F10}"/>
          </ac:spMkLst>
        </pc:spChg>
      </pc:sldChg>
      <pc:sldChg chg="modSp">
        <pc:chgData name="Reed Wolfe" userId="S::reedw@microsoft.com::d05f6079-100b-4fbc-abf2-3407048ef9c5" providerId="AD" clId="Web-{5C513A16-4E22-D36D-34AA-96DD7C01CED9}" dt="2021-06-10T20:04:13.472" v="54" actId="1076"/>
        <pc:sldMkLst>
          <pc:docMk/>
          <pc:sldMk cId="3311876511" sldId="10229"/>
        </pc:sldMkLst>
        <pc:spChg chg="mod">
          <ac:chgData name="Reed Wolfe" userId="S::reedw@microsoft.com::d05f6079-100b-4fbc-abf2-3407048ef9c5" providerId="AD" clId="Web-{5C513A16-4E22-D36D-34AA-96DD7C01CED9}" dt="2021-06-10T17:00:19.934" v="36" actId="20577"/>
          <ac:spMkLst>
            <pc:docMk/>
            <pc:sldMk cId="3311876511" sldId="10229"/>
            <ac:spMk id="74" creationId="{D6DB623E-5BE1-4E5F-B54F-B6C5E9272ED0}"/>
          </ac:spMkLst>
        </pc:spChg>
        <pc:cxnChg chg="mod">
          <ac:chgData name="Reed Wolfe" userId="S::reedw@microsoft.com::d05f6079-100b-4fbc-abf2-3407048ef9c5" providerId="AD" clId="Web-{5C513A16-4E22-D36D-34AA-96DD7C01CED9}" dt="2021-06-10T20:04:13.472" v="54" actId="1076"/>
          <ac:cxnSpMkLst>
            <pc:docMk/>
            <pc:sldMk cId="3311876511" sldId="10229"/>
            <ac:cxnSpMk id="28" creationId="{29C32889-46E6-46E1-BDDB-F4E1B89101CC}"/>
          </ac:cxnSpMkLst>
        </pc:cxnChg>
      </pc:sldChg>
    </pc:docChg>
  </pc:docChgLst>
  <pc:docChgLst>
    <pc:chgData name="Reed Wolfe" userId="d05f6079-100b-4fbc-abf2-3407048ef9c5" providerId="ADAL" clId="{F8CEE9FA-C753-4D6D-ABC2-1A772509A04D}"/>
    <pc:docChg chg="undo custSel addSld delSld modSld modMainMaster modSection">
      <pc:chgData name="Reed Wolfe" userId="d05f6079-100b-4fbc-abf2-3407048ef9c5" providerId="ADAL" clId="{F8CEE9FA-C753-4D6D-ABC2-1A772509A04D}" dt="2021-09-08T11:16:32.014" v="121" actId="207"/>
      <pc:docMkLst>
        <pc:docMk/>
      </pc:docMkLst>
      <pc:sldChg chg="addSp delSp modSp mod">
        <pc:chgData name="Reed Wolfe" userId="d05f6079-100b-4fbc-abf2-3407048ef9c5" providerId="ADAL" clId="{F8CEE9FA-C753-4D6D-ABC2-1A772509A04D}" dt="2021-09-08T11:05:59.791" v="44" actId="207"/>
        <pc:sldMkLst>
          <pc:docMk/>
          <pc:sldMk cId="1094870920" sldId="1735"/>
        </pc:sldMkLst>
        <pc:spChg chg="mod">
          <ac:chgData name="Reed Wolfe" userId="d05f6079-100b-4fbc-abf2-3407048ef9c5" providerId="ADAL" clId="{F8CEE9FA-C753-4D6D-ABC2-1A772509A04D}" dt="2021-09-08T10:58:03.264" v="15" actId="207"/>
          <ac:spMkLst>
            <pc:docMk/>
            <pc:sldMk cId="1094870920" sldId="1735"/>
            <ac:spMk id="2" creationId="{45010FE8-BF09-4146-B084-66CB05B66FD9}"/>
          </ac:spMkLst>
        </pc:spChg>
        <pc:spChg chg="add del">
          <ac:chgData name="Reed Wolfe" userId="d05f6079-100b-4fbc-abf2-3407048ef9c5" providerId="ADAL" clId="{F8CEE9FA-C753-4D6D-ABC2-1A772509A04D}" dt="2021-09-08T11:00:31.286" v="17" actId="22"/>
          <ac:spMkLst>
            <pc:docMk/>
            <pc:sldMk cId="1094870920" sldId="1735"/>
            <ac:spMk id="5" creationId="{6A083AF2-73BE-425A-A3E6-2A822D7E1A6A}"/>
          </ac:spMkLst>
        </pc:spChg>
        <pc:spChg chg="mod">
          <ac:chgData name="Reed Wolfe" userId="d05f6079-100b-4fbc-abf2-3407048ef9c5" providerId="ADAL" clId="{F8CEE9FA-C753-4D6D-ABC2-1A772509A04D}" dt="2021-09-08T11:04:09.048" v="30" actId="207"/>
          <ac:spMkLst>
            <pc:docMk/>
            <pc:sldMk cId="1094870920" sldId="1735"/>
            <ac:spMk id="40" creationId="{8550DF09-0D7B-4F8E-8ACF-13567A221AF3}"/>
          </ac:spMkLst>
        </pc:spChg>
        <pc:spChg chg="mod">
          <ac:chgData name="Reed Wolfe" userId="d05f6079-100b-4fbc-abf2-3407048ef9c5" providerId="ADAL" clId="{F8CEE9FA-C753-4D6D-ABC2-1A772509A04D}" dt="2021-09-08T11:05:51.320" v="42" actId="207"/>
          <ac:spMkLst>
            <pc:docMk/>
            <pc:sldMk cId="1094870920" sldId="1735"/>
            <ac:spMk id="41" creationId="{177907F9-2172-46A3-AEA0-8DD4122F217B}"/>
          </ac:spMkLst>
        </pc:spChg>
        <pc:spChg chg="mod">
          <ac:chgData name="Reed Wolfe" userId="d05f6079-100b-4fbc-abf2-3407048ef9c5" providerId="ADAL" clId="{F8CEE9FA-C753-4D6D-ABC2-1A772509A04D}" dt="2021-09-08T11:05:32.912" v="35" actId="207"/>
          <ac:spMkLst>
            <pc:docMk/>
            <pc:sldMk cId="1094870920" sldId="1735"/>
            <ac:spMk id="55" creationId="{D909AFD3-772D-428E-8735-D3CC0F3F9928}"/>
          </ac:spMkLst>
        </pc:spChg>
        <pc:spChg chg="mod">
          <ac:chgData name="Reed Wolfe" userId="d05f6079-100b-4fbc-abf2-3407048ef9c5" providerId="ADAL" clId="{F8CEE9FA-C753-4D6D-ABC2-1A772509A04D}" dt="2021-09-08T11:02:09.905" v="21" actId="207"/>
          <ac:spMkLst>
            <pc:docMk/>
            <pc:sldMk cId="1094870920" sldId="1735"/>
            <ac:spMk id="57" creationId="{9A72F8EA-291F-4570-84D1-25DC141B48F8}"/>
          </ac:spMkLst>
        </pc:spChg>
        <pc:spChg chg="mod">
          <ac:chgData name="Reed Wolfe" userId="d05f6079-100b-4fbc-abf2-3407048ef9c5" providerId="ADAL" clId="{F8CEE9FA-C753-4D6D-ABC2-1A772509A04D}" dt="2021-09-08T11:02:09.905" v="21" actId="207"/>
          <ac:spMkLst>
            <pc:docMk/>
            <pc:sldMk cId="1094870920" sldId="1735"/>
            <ac:spMk id="58" creationId="{9A88097F-834B-41ED-84A6-F60654AB22D0}"/>
          </ac:spMkLst>
        </pc:spChg>
        <pc:spChg chg="mod">
          <ac:chgData name="Reed Wolfe" userId="d05f6079-100b-4fbc-abf2-3407048ef9c5" providerId="ADAL" clId="{F8CEE9FA-C753-4D6D-ABC2-1A772509A04D}" dt="2021-09-08T11:05:35.890" v="36" actId="207"/>
          <ac:spMkLst>
            <pc:docMk/>
            <pc:sldMk cId="1094870920" sldId="1735"/>
            <ac:spMk id="60" creationId="{1F0B6B51-41D8-4F93-878F-BACE5D1A7680}"/>
          </ac:spMkLst>
        </pc:spChg>
        <pc:spChg chg="mod">
          <ac:chgData name="Reed Wolfe" userId="d05f6079-100b-4fbc-abf2-3407048ef9c5" providerId="ADAL" clId="{F8CEE9FA-C753-4D6D-ABC2-1A772509A04D}" dt="2021-09-08T11:02:42.071" v="22" actId="207"/>
          <ac:spMkLst>
            <pc:docMk/>
            <pc:sldMk cId="1094870920" sldId="1735"/>
            <ac:spMk id="62" creationId="{915A3C2A-BC9A-43BD-88E3-EE63266915B6}"/>
          </ac:spMkLst>
        </pc:spChg>
        <pc:spChg chg="mod">
          <ac:chgData name="Reed Wolfe" userId="d05f6079-100b-4fbc-abf2-3407048ef9c5" providerId="ADAL" clId="{F8CEE9FA-C753-4D6D-ABC2-1A772509A04D}" dt="2021-09-08T11:02:42.071" v="22" actId="207"/>
          <ac:spMkLst>
            <pc:docMk/>
            <pc:sldMk cId="1094870920" sldId="1735"/>
            <ac:spMk id="63" creationId="{30FA6A06-94D8-41F5-A50E-579C83314429}"/>
          </ac:spMkLst>
        </pc:spChg>
        <pc:spChg chg="mod">
          <ac:chgData name="Reed Wolfe" userId="d05f6079-100b-4fbc-abf2-3407048ef9c5" providerId="ADAL" clId="{F8CEE9FA-C753-4D6D-ABC2-1A772509A04D}" dt="2021-09-08T11:05:38.376" v="37" actId="207"/>
          <ac:spMkLst>
            <pc:docMk/>
            <pc:sldMk cId="1094870920" sldId="1735"/>
            <ac:spMk id="70" creationId="{1CE81B94-64B5-49BC-8A00-1B321C123F69}"/>
          </ac:spMkLst>
        </pc:spChg>
        <pc:spChg chg="mod">
          <ac:chgData name="Reed Wolfe" userId="d05f6079-100b-4fbc-abf2-3407048ef9c5" providerId="ADAL" clId="{F8CEE9FA-C753-4D6D-ABC2-1A772509A04D}" dt="2021-09-08T11:02:49.102" v="23" actId="207"/>
          <ac:spMkLst>
            <pc:docMk/>
            <pc:sldMk cId="1094870920" sldId="1735"/>
            <ac:spMk id="72" creationId="{95D38F1C-5C55-4873-BE66-20E7BE3E2EDC}"/>
          </ac:spMkLst>
        </pc:spChg>
        <pc:spChg chg="mod">
          <ac:chgData name="Reed Wolfe" userId="d05f6079-100b-4fbc-abf2-3407048ef9c5" providerId="ADAL" clId="{F8CEE9FA-C753-4D6D-ABC2-1A772509A04D}" dt="2021-09-08T11:02:49.102" v="23" actId="207"/>
          <ac:spMkLst>
            <pc:docMk/>
            <pc:sldMk cId="1094870920" sldId="1735"/>
            <ac:spMk id="73" creationId="{E24498CF-9BEE-4E44-B585-1F75DC58AE6B}"/>
          </ac:spMkLst>
        </pc:spChg>
        <pc:spChg chg="mod">
          <ac:chgData name="Reed Wolfe" userId="d05f6079-100b-4fbc-abf2-3407048ef9c5" providerId="ADAL" clId="{F8CEE9FA-C753-4D6D-ABC2-1A772509A04D}" dt="2021-09-08T11:05:46.028" v="40" actId="207"/>
          <ac:spMkLst>
            <pc:docMk/>
            <pc:sldMk cId="1094870920" sldId="1735"/>
            <ac:spMk id="85" creationId="{8DE2201B-869B-46E1-9DBD-5685B60F9033}"/>
          </ac:spMkLst>
        </pc:spChg>
        <pc:spChg chg="mod">
          <ac:chgData name="Reed Wolfe" userId="d05f6079-100b-4fbc-abf2-3407048ef9c5" providerId="ADAL" clId="{F8CEE9FA-C753-4D6D-ABC2-1A772509A04D}" dt="2021-09-08T11:03:12.647" v="26" actId="207"/>
          <ac:spMkLst>
            <pc:docMk/>
            <pc:sldMk cId="1094870920" sldId="1735"/>
            <ac:spMk id="87" creationId="{907CCD18-B526-49B1-B2D6-EC23F8940C59}"/>
          </ac:spMkLst>
        </pc:spChg>
        <pc:spChg chg="mod">
          <ac:chgData name="Reed Wolfe" userId="d05f6079-100b-4fbc-abf2-3407048ef9c5" providerId="ADAL" clId="{F8CEE9FA-C753-4D6D-ABC2-1A772509A04D}" dt="2021-09-08T11:03:12.647" v="26" actId="207"/>
          <ac:spMkLst>
            <pc:docMk/>
            <pc:sldMk cId="1094870920" sldId="1735"/>
            <ac:spMk id="88" creationId="{B87852BE-A84F-43C9-9B66-6661E3928140}"/>
          </ac:spMkLst>
        </pc:spChg>
        <pc:spChg chg="mod">
          <ac:chgData name="Reed Wolfe" userId="d05f6079-100b-4fbc-abf2-3407048ef9c5" providerId="ADAL" clId="{F8CEE9FA-C753-4D6D-ABC2-1A772509A04D}" dt="2021-09-08T11:03:57.788" v="29" actId="207"/>
          <ac:spMkLst>
            <pc:docMk/>
            <pc:sldMk cId="1094870920" sldId="1735"/>
            <ac:spMk id="89" creationId="{429D1AB2-FD1C-420E-91FC-D03A20DC1B8B}"/>
          </ac:spMkLst>
        </pc:spChg>
        <pc:spChg chg="mod">
          <ac:chgData name="Reed Wolfe" userId="d05f6079-100b-4fbc-abf2-3407048ef9c5" providerId="ADAL" clId="{F8CEE9FA-C753-4D6D-ABC2-1A772509A04D}" dt="2021-09-08T11:03:51.219" v="28" actId="207"/>
          <ac:spMkLst>
            <pc:docMk/>
            <pc:sldMk cId="1094870920" sldId="1735"/>
            <ac:spMk id="91" creationId="{F71E6BB8-F6B2-4A70-9C26-62A830F5F11B}"/>
          </ac:spMkLst>
        </pc:spChg>
        <pc:spChg chg="mod">
          <ac:chgData name="Reed Wolfe" userId="d05f6079-100b-4fbc-abf2-3407048ef9c5" providerId="ADAL" clId="{F8CEE9FA-C753-4D6D-ABC2-1A772509A04D}" dt="2021-09-08T11:03:51.219" v="28" actId="207"/>
          <ac:spMkLst>
            <pc:docMk/>
            <pc:sldMk cId="1094870920" sldId="1735"/>
            <ac:spMk id="92" creationId="{6BDC5852-9503-4CDA-B807-61D5949A5EBC}"/>
          </ac:spMkLst>
        </pc:spChg>
        <pc:spChg chg="mod">
          <ac:chgData name="Reed Wolfe" userId="d05f6079-100b-4fbc-abf2-3407048ef9c5" providerId="ADAL" clId="{F8CEE9FA-C753-4D6D-ABC2-1A772509A04D}" dt="2021-09-08T11:05:40.670" v="38" actId="207"/>
          <ac:spMkLst>
            <pc:docMk/>
            <pc:sldMk cId="1094870920" sldId="1735"/>
            <ac:spMk id="99" creationId="{FC4B0DC5-704F-4EF8-8C8D-57B005D97A11}"/>
          </ac:spMkLst>
        </pc:spChg>
        <pc:spChg chg="mod">
          <ac:chgData name="Reed Wolfe" userId="d05f6079-100b-4fbc-abf2-3407048ef9c5" providerId="ADAL" clId="{F8CEE9FA-C753-4D6D-ABC2-1A772509A04D}" dt="2021-09-08T11:05:59.791" v="44" actId="207"/>
          <ac:spMkLst>
            <pc:docMk/>
            <pc:sldMk cId="1094870920" sldId="1735"/>
            <ac:spMk id="103" creationId="{58D773B7-673F-419E-B0B9-B5B66FF34DCD}"/>
          </ac:spMkLst>
        </pc:spChg>
        <pc:spChg chg="mod">
          <ac:chgData name="Reed Wolfe" userId="d05f6079-100b-4fbc-abf2-3407048ef9c5" providerId="ADAL" clId="{F8CEE9FA-C753-4D6D-ABC2-1A772509A04D}" dt="2021-09-08T11:05:21.239" v="34" actId="207"/>
          <ac:spMkLst>
            <pc:docMk/>
            <pc:sldMk cId="1094870920" sldId="1735"/>
            <ac:spMk id="104" creationId="{1F9281E3-1F1D-4B02-A80D-710A4BB90B72}"/>
          </ac:spMkLst>
        </pc:spChg>
        <pc:spChg chg="mod">
          <ac:chgData name="Reed Wolfe" userId="d05f6079-100b-4fbc-abf2-3407048ef9c5" providerId="ADAL" clId="{F8CEE9FA-C753-4D6D-ABC2-1A772509A04D}" dt="2021-09-08T11:02:55.457" v="24" actId="207"/>
          <ac:spMkLst>
            <pc:docMk/>
            <pc:sldMk cId="1094870920" sldId="1735"/>
            <ac:spMk id="107" creationId="{84085650-8518-468F-8C8A-021578374871}"/>
          </ac:spMkLst>
        </pc:spChg>
        <pc:spChg chg="mod">
          <ac:chgData name="Reed Wolfe" userId="d05f6079-100b-4fbc-abf2-3407048ef9c5" providerId="ADAL" clId="{F8CEE9FA-C753-4D6D-ABC2-1A772509A04D}" dt="2021-09-08T11:05:48.241" v="41" actId="207"/>
          <ac:spMkLst>
            <pc:docMk/>
            <pc:sldMk cId="1094870920" sldId="1735"/>
            <ac:spMk id="109" creationId="{3E4DFA63-3F0D-487B-A03F-3BEC2E1DBE83}"/>
          </ac:spMkLst>
        </pc:spChg>
        <pc:spChg chg="mod">
          <ac:chgData name="Reed Wolfe" userId="d05f6079-100b-4fbc-abf2-3407048ef9c5" providerId="ADAL" clId="{F8CEE9FA-C753-4D6D-ABC2-1A772509A04D}" dt="2021-09-08T11:03:20.621" v="27" actId="207"/>
          <ac:spMkLst>
            <pc:docMk/>
            <pc:sldMk cId="1094870920" sldId="1735"/>
            <ac:spMk id="111" creationId="{82885EBC-15AB-4C6C-B918-86D23BF5CC97}"/>
          </ac:spMkLst>
        </pc:spChg>
        <pc:spChg chg="mod">
          <ac:chgData name="Reed Wolfe" userId="d05f6079-100b-4fbc-abf2-3407048ef9c5" providerId="ADAL" clId="{F8CEE9FA-C753-4D6D-ABC2-1A772509A04D}" dt="2021-09-08T11:03:20.621" v="27" actId="207"/>
          <ac:spMkLst>
            <pc:docMk/>
            <pc:sldMk cId="1094870920" sldId="1735"/>
            <ac:spMk id="112" creationId="{FF55BADD-5681-4A71-BB66-099FE1C51ACE}"/>
          </ac:spMkLst>
        </pc:spChg>
        <pc:spChg chg="mod">
          <ac:chgData name="Reed Wolfe" userId="d05f6079-100b-4fbc-abf2-3407048ef9c5" providerId="ADAL" clId="{F8CEE9FA-C753-4D6D-ABC2-1A772509A04D}" dt="2021-09-08T11:02:55.457" v="24" actId="207"/>
          <ac:spMkLst>
            <pc:docMk/>
            <pc:sldMk cId="1094870920" sldId="1735"/>
            <ac:spMk id="113" creationId="{5FEB52B2-E0FA-46C6-B934-58BC6077D08E}"/>
          </ac:spMkLst>
        </pc:spChg>
        <pc:spChg chg="mod">
          <ac:chgData name="Reed Wolfe" userId="d05f6079-100b-4fbc-abf2-3407048ef9c5" providerId="ADAL" clId="{F8CEE9FA-C753-4D6D-ABC2-1A772509A04D}" dt="2021-09-08T11:05:42.930" v="39" actId="207"/>
          <ac:spMkLst>
            <pc:docMk/>
            <pc:sldMk cId="1094870920" sldId="1735"/>
            <ac:spMk id="115" creationId="{6A8D80DA-9DE8-4C5A-B709-2F883CCAFD13}"/>
          </ac:spMkLst>
        </pc:spChg>
        <pc:spChg chg="mod">
          <ac:chgData name="Reed Wolfe" userId="d05f6079-100b-4fbc-abf2-3407048ef9c5" providerId="ADAL" clId="{F8CEE9FA-C753-4D6D-ABC2-1A772509A04D}" dt="2021-09-08T11:03:02.006" v="25" actId="207"/>
          <ac:spMkLst>
            <pc:docMk/>
            <pc:sldMk cId="1094870920" sldId="1735"/>
            <ac:spMk id="117" creationId="{049335D5-C284-44A2-A891-E27552C6306A}"/>
          </ac:spMkLst>
        </pc:spChg>
        <pc:spChg chg="mod">
          <ac:chgData name="Reed Wolfe" userId="d05f6079-100b-4fbc-abf2-3407048ef9c5" providerId="ADAL" clId="{F8CEE9FA-C753-4D6D-ABC2-1A772509A04D}" dt="2021-09-08T11:03:02.006" v="25" actId="207"/>
          <ac:spMkLst>
            <pc:docMk/>
            <pc:sldMk cId="1094870920" sldId="1735"/>
            <ac:spMk id="118" creationId="{1C452355-97E6-46AF-AAFF-546347365A22}"/>
          </ac:spMkLst>
        </pc:spChg>
        <pc:grpChg chg="del">
          <ac:chgData name="Reed Wolfe" userId="d05f6079-100b-4fbc-abf2-3407048ef9c5" providerId="ADAL" clId="{F8CEE9FA-C753-4D6D-ABC2-1A772509A04D}" dt="2021-09-08T10:57:28.135" v="12" actId="478"/>
          <ac:grpSpMkLst>
            <pc:docMk/>
            <pc:sldMk cId="1094870920" sldId="1735"/>
            <ac:grpSpMk id="93" creationId="{5E1CA762-CB82-429E-89B2-E95C130A0A2A}"/>
          </ac:grpSpMkLst>
        </pc:grpChg>
        <pc:picChg chg="add mod">
          <ac:chgData name="Reed Wolfe" userId="d05f6079-100b-4fbc-abf2-3407048ef9c5" providerId="ADAL" clId="{F8CEE9FA-C753-4D6D-ABC2-1A772509A04D}" dt="2021-09-08T10:57:37.710" v="14" actId="1076"/>
          <ac:picMkLst>
            <pc:docMk/>
            <pc:sldMk cId="1094870920" sldId="1735"/>
            <ac:picMk id="4" creationId="{D253333D-BE2E-42F7-B89B-0CBCDB98B40C}"/>
          </ac:picMkLst>
        </pc:picChg>
        <pc:picChg chg="add del mod">
          <ac:chgData name="Reed Wolfe" userId="d05f6079-100b-4fbc-abf2-3407048ef9c5" providerId="ADAL" clId="{F8CEE9FA-C753-4D6D-ABC2-1A772509A04D}" dt="2021-09-08T11:00:44.818" v="20" actId="478"/>
          <ac:picMkLst>
            <pc:docMk/>
            <pc:sldMk cId="1094870920" sldId="1735"/>
            <ac:picMk id="7" creationId="{0831EA94-A42D-467A-AFB5-232792DAE2CF}"/>
          </ac:picMkLst>
        </pc:picChg>
      </pc:sldChg>
      <pc:sldChg chg="modSp mod">
        <pc:chgData name="Reed Wolfe" userId="d05f6079-100b-4fbc-abf2-3407048ef9c5" providerId="ADAL" clId="{F8CEE9FA-C753-4D6D-ABC2-1A772509A04D}" dt="2021-09-08T11:11:47.844" v="81" actId="207"/>
        <pc:sldMkLst>
          <pc:docMk/>
          <pc:sldMk cId="2345068032" sldId="1786"/>
        </pc:sldMkLst>
        <pc:spChg chg="mod">
          <ac:chgData name="Reed Wolfe" userId="d05f6079-100b-4fbc-abf2-3407048ef9c5" providerId="ADAL" clId="{F8CEE9FA-C753-4D6D-ABC2-1A772509A04D}" dt="2021-09-08T11:09:30.591" v="74" actId="207"/>
          <ac:spMkLst>
            <pc:docMk/>
            <pc:sldMk cId="2345068032" sldId="1786"/>
            <ac:spMk id="2" creationId="{45010FE8-BF09-4146-B084-66CB05B66FD9}"/>
          </ac:spMkLst>
        </pc:spChg>
        <pc:spChg chg="mod">
          <ac:chgData name="Reed Wolfe" userId="d05f6079-100b-4fbc-abf2-3407048ef9c5" providerId="ADAL" clId="{F8CEE9FA-C753-4D6D-ABC2-1A772509A04D}" dt="2021-09-08T11:10:00.817" v="77" actId="207"/>
          <ac:spMkLst>
            <pc:docMk/>
            <pc:sldMk cId="2345068032" sldId="1786"/>
            <ac:spMk id="9" creationId="{5F10B7DA-EBAD-49D8-8636-A3336D68F659}"/>
          </ac:spMkLst>
        </pc:spChg>
        <pc:spChg chg="mod">
          <ac:chgData name="Reed Wolfe" userId="d05f6079-100b-4fbc-abf2-3407048ef9c5" providerId="ADAL" clId="{F8CEE9FA-C753-4D6D-ABC2-1A772509A04D}" dt="2021-09-08T11:10:08.765" v="78" actId="207"/>
          <ac:spMkLst>
            <pc:docMk/>
            <pc:sldMk cId="2345068032" sldId="1786"/>
            <ac:spMk id="11" creationId="{76583F2C-13BC-4FA8-A9DE-F1F764C38F10}"/>
          </ac:spMkLst>
        </pc:spChg>
        <pc:spChg chg="mod">
          <ac:chgData name="Reed Wolfe" userId="d05f6079-100b-4fbc-abf2-3407048ef9c5" providerId="ADAL" clId="{F8CEE9FA-C753-4D6D-ABC2-1A772509A04D}" dt="2021-09-08T11:09:25.894" v="73" actId="207"/>
          <ac:spMkLst>
            <pc:docMk/>
            <pc:sldMk cId="2345068032" sldId="1786"/>
            <ac:spMk id="13" creationId="{C369B4C5-09E2-40E1-809B-F38D97F29A2B}"/>
          </ac:spMkLst>
        </pc:spChg>
        <pc:spChg chg="mod">
          <ac:chgData name="Reed Wolfe" userId="d05f6079-100b-4fbc-abf2-3407048ef9c5" providerId="ADAL" clId="{F8CEE9FA-C753-4D6D-ABC2-1A772509A04D}" dt="2021-09-08T11:09:25.894" v="73" actId="207"/>
          <ac:spMkLst>
            <pc:docMk/>
            <pc:sldMk cId="2345068032" sldId="1786"/>
            <ac:spMk id="14" creationId="{286F9C08-402C-4326-B8B7-33CDA61176F0}"/>
          </ac:spMkLst>
        </pc:spChg>
        <pc:graphicFrameChg chg="modGraphic">
          <ac:chgData name="Reed Wolfe" userId="d05f6079-100b-4fbc-abf2-3407048ef9c5" providerId="ADAL" clId="{F8CEE9FA-C753-4D6D-ABC2-1A772509A04D}" dt="2021-09-08T11:11:47.844" v="81" actId="207"/>
          <ac:graphicFrameMkLst>
            <pc:docMk/>
            <pc:sldMk cId="2345068032" sldId="1786"/>
            <ac:graphicFrameMk id="4" creationId="{9E04F86D-C834-4ACE-86A6-012EE8D90DEB}"/>
          </ac:graphicFrameMkLst>
        </pc:graphicFrameChg>
      </pc:sldChg>
      <pc:sldChg chg="modSp mod">
        <pc:chgData name="Reed Wolfe" userId="d05f6079-100b-4fbc-abf2-3407048ef9c5" providerId="ADAL" clId="{F8CEE9FA-C753-4D6D-ABC2-1A772509A04D}" dt="2021-09-08T11:15:59.019" v="115" actId="207"/>
        <pc:sldMkLst>
          <pc:docMk/>
          <pc:sldMk cId="855631851" sldId="1796"/>
        </pc:sldMkLst>
        <pc:spChg chg="mod">
          <ac:chgData name="Reed Wolfe" userId="d05f6079-100b-4fbc-abf2-3407048ef9c5" providerId="ADAL" clId="{F8CEE9FA-C753-4D6D-ABC2-1A772509A04D}" dt="2021-09-08T11:15:35.173" v="110" actId="207"/>
          <ac:spMkLst>
            <pc:docMk/>
            <pc:sldMk cId="855631851" sldId="1796"/>
            <ac:spMk id="2" creationId="{45010FE8-BF09-4146-B084-66CB05B66FD9}"/>
          </ac:spMkLst>
        </pc:spChg>
        <pc:spChg chg="mod">
          <ac:chgData name="Reed Wolfe" userId="d05f6079-100b-4fbc-abf2-3407048ef9c5" providerId="ADAL" clId="{F8CEE9FA-C753-4D6D-ABC2-1A772509A04D}" dt="2021-09-08T11:15:43.200" v="112" actId="207"/>
          <ac:spMkLst>
            <pc:docMk/>
            <pc:sldMk cId="855631851" sldId="1796"/>
            <ac:spMk id="9" creationId="{7BCE2C40-90DB-4FC2-953D-507B8E0183F5}"/>
          </ac:spMkLst>
        </pc:spChg>
        <pc:spChg chg="mod">
          <ac:chgData name="Reed Wolfe" userId="d05f6079-100b-4fbc-abf2-3407048ef9c5" providerId="ADAL" clId="{F8CEE9FA-C753-4D6D-ABC2-1A772509A04D}" dt="2021-09-08T11:15:46.839" v="113" actId="207"/>
          <ac:spMkLst>
            <pc:docMk/>
            <pc:sldMk cId="855631851" sldId="1796"/>
            <ac:spMk id="18" creationId="{9E0DB5B5-71CC-4A82-83C7-4427225E89B4}"/>
          </ac:spMkLst>
        </pc:spChg>
        <pc:spChg chg="mod">
          <ac:chgData name="Reed Wolfe" userId="d05f6079-100b-4fbc-abf2-3407048ef9c5" providerId="ADAL" clId="{F8CEE9FA-C753-4D6D-ABC2-1A772509A04D}" dt="2021-09-08T11:15:59.019" v="115" actId="207"/>
          <ac:spMkLst>
            <pc:docMk/>
            <pc:sldMk cId="855631851" sldId="1796"/>
            <ac:spMk id="20" creationId="{6D5F158D-72EA-4FD7-9A32-476745931B0D}"/>
          </ac:spMkLst>
        </pc:spChg>
        <pc:spChg chg="mod">
          <ac:chgData name="Reed Wolfe" userId="d05f6079-100b-4fbc-abf2-3407048ef9c5" providerId="ADAL" clId="{F8CEE9FA-C753-4D6D-ABC2-1A772509A04D}" dt="2021-09-08T11:15:59.019" v="115" actId="207"/>
          <ac:spMkLst>
            <pc:docMk/>
            <pc:sldMk cId="855631851" sldId="1796"/>
            <ac:spMk id="21" creationId="{3CA31C58-F974-4272-8468-1BE1EE27E619}"/>
          </ac:spMkLst>
        </pc:spChg>
        <pc:spChg chg="mod">
          <ac:chgData name="Reed Wolfe" userId="d05f6079-100b-4fbc-abf2-3407048ef9c5" providerId="ADAL" clId="{F8CEE9FA-C753-4D6D-ABC2-1A772509A04D}" dt="2021-09-08T11:15:49.759" v="114" actId="207"/>
          <ac:spMkLst>
            <pc:docMk/>
            <pc:sldMk cId="855631851" sldId="1796"/>
            <ac:spMk id="38" creationId="{54FDBA81-4E94-4312-93CB-C497C8DC0C5E}"/>
          </ac:spMkLst>
        </pc:spChg>
      </pc:sldChg>
      <pc:sldChg chg="modSp mod">
        <pc:chgData name="Reed Wolfe" userId="d05f6079-100b-4fbc-abf2-3407048ef9c5" providerId="ADAL" clId="{F8CEE9FA-C753-4D6D-ABC2-1A772509A04D}" dt="2021-09-08T11:16:32.014" v="121" actId="207"/>
        <pc:sldMkLst>
          <pc:docMk/>
          <pc:sldMk cId="2633977528" sldId="1798"/>
        </pc:sldMkLst>
        <pc:spChg chg="mod">
          <ac:chgData name="Reed Wolfe" userId="d05f6079-100b-4fbc-abf2-3407048ef9c5" providerId="ADAL" clId="{F8CEE9FA-C753-4D6D-ABC2-1A772509A04D}" dt="2021-09-08T11:16:05.525" v="116" actId="207"/>
          <ac:spMkLst>
            <pc:docMk/>
            <pc:sldMk cId="2633977528" sldId="1798"/>
            <ac:spMk id="2" creationId="{45010FE8-BF09-4146-B084-66CB05B66FD9}"/>
          </ac:spMkLst>
        </pc:spChg>
        <pc:spChg chg="mod">
          <ac:chgData name="Reed Wolfe" userId="d05f6079-100b-4fbc-abf2-3407048ef9c5" providerId="ADAL" clId="{F8CEE9FA-C753-4D6D-ABC2-1A772509A04D}" dt="2021-09-08T11:16:32.014" v="121" actId="207"/>
          <ac:spMkLst>
            <pc:docMk/>
            <pc:sldMk cId="2633977528" sldId="1798"/>
            <ac:spMk id="9" creationId="{87A46D8A-4DC1-4337-8C6F-46DCD83BAF11}"/>
          </ac:spMkLst>
        </pc:spChg>
        <pc:spChg chg="mod">
          <ac:chgData name="Reed Wolfe" userId="d05f6079-100b-4fbc-abf2-3407048ef9c5" providerId="ADAL" clId="{F8CEE9FA-C753-4D6D-ABC2-1A772509A04D}" dt="2021-09-08T11:16:08.350" v="117" actId="207"/>
          <ac:spMkLst>
            <pc:docMk/>
            <pc:sldMk cId="2633977528" sldId="1798"/>
            <ac:spMk id="26" creationId="{3EE3908A-E7B2-4491-9919-73E1BE3FA993}"/>
          </ac:spMkLst>
        </pc:spChg>
        <pc:spChg chg="mod">
          <ac:chgData name="Reed Wolfe" userId="d05f6079-100b-4fbc-abf2-3407048ef9c5" providerId="ADAL" clId="{F8CEE9FA-C753-4D6D-ABC2-1A772509A04D}" dt="2021-09-08T11:16:19.856" v="118" actId="207"/>
          <ac:spMkLst>
            <pc:docMk/>
            <pc:sldMk cId="2633977528" sldId="1798"/>
            <ac:spMk id="29" creationId="{D6BC7BB6-3E3D-4013-9223-2902E1AC58E3}"/>
          </ac:spMkLst>
        </pc:spChg>
        <pc:spChg chg="mod">
          <ac:chgData name="Reed Wolfe" userId="d05f6079-100b-4fbc-abf2-3407048ef9c5" providerId="ADAL" clId="{F8CEE9FA-C753-4D6D-ABC2-1A772509A04D}" dt="2021-09-08T11:16:19.856" v="118" actId="207"/>
          <ac:spMkLst>
            <pc:docMk/>
            <pc:sldMk cId="2633977528" sldId="1798"/>
            <ac:spMk id="30" creationId="{7945BD11-124E-4F10-9642-9099F23D22A4}"/>
          </ac:spMkLst>
        </pc:spChg>
        <pc:spChg chg="mod">
          <ac:chgData name="Reed Wolfe" userId="d05f6079-100b-4fbc-abf2-3407048ef9c5" providerId="ADAL" clId="{F8CEE9FA-C753-4D6D-ABC2-1A772509A04D}" dt="2021-09-08T11:16:23.111" v="119" actId="207"/>
          <ac:spMkLst>
            <pc:docMk/>
            <pc:sldMk cId="2633977528" sldId="1798"/>
            <ac:spMk id="31" creationId="{A35E9EE8-3792-4935-BDF4-3CC3B6FBB0A0}"/>
          </ac:spMkLst>
        </pc:spChg>
      </pc:sldChg>
      <pc:sldChg chg="modSp mod">
        <pc:chgData name="Reed Wolfe" userId="d05f6079-100b-4fbc-abf2-3407048ef9c5" providerId="ADAL" clId="{F8CEE9FA-C753-4D6D-ABC2-1A772509A04D}" dt="2021-09-08T10:56:57.215" v="11" actId="20577"/>
        <pc:sldMkLst>
          <pc:docMk/>
          <pc:sldMk cId="3300356148" sldId="10222"/>
        </pc:sldMkLst>
        <pc:spChg chg="mod">
          <ac:chgData name="Reed Wolfe" userId="d05f6079-100b-4fbc-abf2-3407048ef9c5" providerId="ADAL" clId="{F8CEE9FA-C753-4D6D-ABC2-1A772509A04D}" dt="2021-09-08T10:54:57.945" v="8" actId="1076"/>
          <ac:spMkLst>
            <pc:docMk/>
            <pc:sldMk cId="3300356148" sldId="10222"/>
            <ac:spMk id="3" creationId="{ADAEA79F-AF79-4F22-8280-C4011C611AAA}"/>
          </ac:spMkLst>
        </pc:spChg>
        <pc:spChg chg="mod">
          <ac:chgData name="Reed Wolfe" userId="d05f6079-100b-4fbc-abf2-3407048ef9c5" providerId="ADAL" clId="{F8CEE9FA-C753-4D6D-ABC2-1A772509A04D}" dt="2021-09-08T10:56:57.215" v="11" actId="20577"/>
          <ac:spMkLst>
            <pc:docMk/>
            <pc:sldMk cId="3300356148" sldId="10222"/>
            <ac:spMk id="11" creationId="{E5BCFD79-ACCF-4415-ABDE-04E18E58FD42}"/>
          </ac:spMkLst>
        </pc:spChg>
      </pc:sldChg>
      <pc:sldChg chg="modSp mod">
        <pc:chgData name="Reed Wolfe" userId="d05f6079-100b-4fbc-abf2-3407048ef9c5" providerId="ADAL" clId="{F8CEE9FA-C753-4D6D-ABC2-1A772509A04D}" dt="2021-09-08T11:14:43.481" v="101" actId="207"/>
        <pc:sldMkLst>
          <pc:docMk/>
          <pc:sldMk cId="856216650" sldId="10223"/>
        </pc:sldMkLst>
        <pc:spChg chg="mod">
          <ac:chgData name="Reed Wolfe" userId="d05f6079-100b-4fbc-abf2-3407048ef9c5" providerId="ADAL" clId="{F8CEE9FA-C753-4D6D-ABC2-1A772509A04D}" dt="2021-09-08T11:13:29.421" v="84" actId="207"/>
          <ac:spMkLst>
            <pc:docMk/>
            <pc:sldMk cId="856216650" sldId="10223"/>
            <ac:spMk id="2" creationId="{45010FE8-BF09-4146-B084-66CB05B66FD9}"/>
          </ac:spMkLst>
        </pc:spChg>
        <pc:spChg chg="mod">
          <ac:chgData name="Reed Wolfe" userId="d05f6079-100b-4fbc-abf2-3407048ef9c5" providerId="ADAL" clId="{F8CEE9FA-C753-4D6D-ABC2-1A772509A04D}" dt="2021-09-08T11:13:33.314" v="86" actId="207"/>
          <ac:spMkLst>
            <pc:docMk/>
            <pc:sldMk cId="856216650" sldId="10223"/>
            <ac:spMk id="3" creationId="{4227308A-4FE9-4C05-BB5D-16C9B8CF8C09}"/>
          </ac:spMkLst>
        </pc:spChg>
        <pc:spChg chg="mod">
          <ac:chgData name="Reed Wolfe" userId="d05f6079-100b-4fbc-abf2-3407048ef9c5" providerId="ADAL" clId="{F8CEE9FA-C753-4D6D-ABC2-1A772509A04D}" dt="2021-09-08T11:13:48.906" v="91" actId="207"/>
          <ac:spMkLst>
            <pc:docMk/>
            <pc:sldMk cId="856216650" sldId="10223"/>
            <ac:spMk id="4" creationId="{AD877597-C58A-4F11-971F-738C8C342DDF}"/>
          </ac:spMkLst>
        </pc:spChg>
        <pc:spChg chg="mod">
          <ac:chgData name="Reed Wolfe" userId="d05f6079-100b-4fbc-abf2-3407048ef9c5" providerId="ADAL" clId="{F8CEE9FA-C753-4D6D-ABC2-1A772509A04D}" dt="2021-09-08T11:14:14.061" v="95" actId="207"/>
          <ac:spMkLst>
            <pc:docMk/>
            <pc:sldMk cId="856216650" sldId="10223"/>
            <ac:spMk id="5" creationId="{E5DC63EE-DBB0-49B8-A6C8-6875675C302B}"/>
          </ac:spMkLst>
        </pc:spChg>
        <pc:spChg chg="mod">
          <ac:chgData name="Reed Wolfe" userId="d05f6079-100b-4fbc-abf2-3407048ef9c5" providerId="ADAL" clId="{F8CEE9FA-C753-4D6D-ABC2-1A772509A04D}" dt="2021-09-08T11:14:43.481" v="101" actId="207"/>
          <ac:spMkLst>
            <pc:docMk/>
            <pc:sldMk cId="856216650" sldId="10223"/>
            <ac:spMk id="6" creationId="{B42DDD8B-A225-4AEC-B7E5-73014FBF653C}"/>
          </ac:spMkLst>
        </pc:spChg>
        <pc:spChg chg="mod">
          <ac:chgData name="Reed Wolfe" userId="d05f6079-100b-4fbc-abf2-3407048ef9c5" providerId="ADAL" clId="{F8CEE9FA-C753-4D6D-ABC2-1A772509A04D}" dt="2021-09-08T11:13:54.238" v="93" actId="207"/>
          <ac:spMkLst>
            <pc:docMk/>
            <pc:sldMk cId="856216650" sldId="10223"/>
            <ac:spMk id="15" creationId="{4D635081-5C14-4453-98A4-27FF3E58A236}"/>
          </ac:spMkLst>
        </pc:spChg>
        <pc:spChg chg="mod">
          <ac:chgData name="Reed Wolfe" userId="d05f6079-100b-4fbc-abf2-3407048ef9c5" providerId="ADAL" clId="{F8CEE9FA-C753-4D6D-ABC2-1A772509A04D}" dt="2021-09-08T11:14:38.838" v="99" actId="207"/>
          <ac:spMkLst>
            <pc:docMk/>
            <pc:sldMk cId="856216650" sldId="10223"/>
            <ac:spMk id="31" creationId="{A09AA2CA-4C58-4921-95C0-FB68D16FB9B7}"/>
          </ac:spMkLst>
        </pc:spChg>
        <pc:spChg chg="mod">
          <ac:chgData name="Reed Wolfe" userId="d05f6079-100b-4fbc-abf2-3407048ef9c5" providerId="ADAL" clId="{F8CEE9FA-C753-4D6D-ABC2-1A772509A04D}" dt="2021-09-08T11:14:25.616" v="97" actId="207"/>
          <ac:spMkLst>
            <pc:docMk/>
            <pc:sldMk cId="856216650" sldId="10223"/>
            <ac:spMk id="33" creationId="{F0C1CE1F-5742-4079-A4DA-DA19F30BA6F7}"/>
          </ac:spMkLst>
        </pc:spChg>
        <pc:spChg chg="mod">
          <ac:chgData name="Reed Wolfe" userId="d05f6079-100b-4fbc-abf2-3407048ef9c5" providerId="ADAL" clId="{F8CEE9FA-C753-4D6D-ABC2-1A772509A04D}" dt="2021-09-08T11:13:41.586" v="89" actId="207"/>
          <ac:spMkLst>
            <pc:docMk/>
            <pc:sldMk cId="856216650" sldId="10223"/>
            <ac:spMk id="46" creationId="{423E3344-0D3E-40C6-A30D-D9146C16FFD2}"/>
          </ac:spMkLst>
        </pc:spChg>
        <pc:spChg chg="mod">
          <ac:chgData name="Reed Wolfe" userId="d05f6079-100b-4fbc-abf2-3407048ef9c5" providerId="ADAL" clId="{F8CEE9FA-C753-4D6D-ABC2-1A772509A04D}" dt="2021-09-08T11:13:24.686" v="83" actId="207"/>
          <ac:spMkLst>
            <pc:docMk/>
            <pc:sldMk cId="856216650" sldId="10223"/>
            <ac:spMk id="52" creationId="{F23E2C28-CB8E-4744-9410-C2E970FCFB05}"/>
          </ac:spMkLst>
        </pc:spChg>
      </pc:sldChg>
      <pc:sldChg chg="addSp delSp modSp mod">
        <pc:chgData name="Reed Wolfe" userId="d05f6079-100b-4fbc-abf2-3407048ef9c5" providerId="ADAL" clId="{F8CEE9FA-C753-4D6D-ABC2-1A772509A04D}" dt="2021-09-08T11:09:15.088" v="72" actId="207"/>
        <pc:sldMkLst>
          <pc:docMk/>
          <pc:sldMk cId="2744971081" sldId="10226"/>
        </pc:sldMkLst>
        <pc:spChg chg="mod">
          <ac:chgData name="Reed Wolfe" userId="d05f6079-100b-4fbc-abf2-3407048ef9c5" providerId="ADAL" clId="{F8CEE9FA-C753-4D6D-ABC2-1A772509A04D}" dt="2021-09-08T11:07:54.285" v="59" actId="207"/>
          <ac:spMkLst>
            <pc:docMk/>
            <pc:sldMk cId="2744971081" sldId="10226"/>
            <ac:spMk id="2" creationId="{CC40D7E0-D5FA-4A86-93CD-A73C19FDE61A}"/>
          </ac:spMkLst>
        </pc:spChg>
        <pc:spChg chg="mod">
          <ac:chgData name="Reed Wolfe" userId="d05f6079-100b-4fbc-abf2-3407048ef9c5" providerId="ADAL" clId="{F8CEE9FA-C753-4D6D-ABC2-1A772509A04D}" dt="2021-09-08T11:08:04.737" v="61" actId="207"/>
          <ac:spMkLst>
            <pc:docMk/>
            <pc:sldMk cId="2744971081" sldId="10226"/>
            <ac:spMk id="5" creationId="{DCACA0F7-D8FB-43C8-8DDC-B70EB0228F25}"/>
          </ac:spMkLst>
        </pc:spChg>
        <pc:spChg chg="mod">
          <ac:chgData name="Reed Wolfe" userId="d05f6079-100b-4fbc-abf2-3407048ef9c5" providerId="ADAL" clId="{F8CEE9FA-C753-4D6D-ABC2-1A772509A04D}" dt="2021-09-08T11:08:46.111" v="68" actId="207"/>
          <ac:spMkLst>
            <pc:docMk/>
            <pc:sldMk cId="2744971081" sldId="10226"/>
            <ac:spMk id="7" creationId="{980DCD9E-1565-480F-8834-1FCB8FB7778C}"/>
          </ac:spMkLst>
        </pc:spChg>
        <pc:spChg chg="mod">
          <ac:chgData name="Reed Wolfe" userId="d05f6079-100b-4fbc-abf2-3407048ef9c5" providerId="ADAL" clId="{F8CEE9FA-C753-4D6D-ABC2-1A772509A04D}" dt="2021-09-08T11:08:46.111" v="68" actId="207"/>
          <ac:spMkLst>
            <pc:docMk/>
            <pc:sldMk cId="2744971081" sldId="10226"/>
            <ac:spMk id="8" creationId="{65DC38E7-D6C8-4469-BB7C-74D5DA5F6A86}"/>
          </ac:spMkLst>
        </pc:spChg>
        <pc:spChg chg="mod">
          <ac:chgData name="Reed Wolfe" userId="d05f6079-100b-4fbc-abf2-3407048ef9c5" providerId="ADAL" clId="{F8CEE9FA-C753-4D6D-ABC2-1A772509A04D}" dt="2021-09-08T11:08:08.307" v="62" actId="207"/>
          <ac:spMkLst>
            <pc:docMk/>
            <pc:sldMk cId="2744971081" sldId="10226"/>
            <ac:spMk id="15" creationId="{CBDE199F-738C-48F9-B2A1-07D56F822D7E}"/>
          </ac:spMkLst>
        </pc:spChg>
        <pc:spChg chg="mod">
          <ac:chgData name="Reed Wolfe" userId="d05f6079-100b-4fbc-abf2-3407048ef9c5" providerId="ADAL" clId="{F8CEE9FA-C753-4D6D-ABC2-1A772509A04D}" dt="2021-09-08T11:08:50.827" v="69" actId="207"/>
          <ac:spMkLst>
            <pc:docMk/>
            <pc:sldMk cId="2744971081" sldId="10226"/>
            <ac:spMk id="17" creationId="{E2F1FDBB-D7C2-4066-81A0-81490BE00D94}"/>
          </ac:spMkLst>
        </pc:spChg>
        <pc:spChg chg="mod">
          <ac:chgData name="Reed Wolfe" userId="d05f6079-100b-4fbc-abf2-3407048ef9c5" providerId="ADAL" clId="{F8CEE9FA-C753-4D6D-ABC2-1A772509A04D}" dt="2021-09-08T11:08:50.827" v="69" actId="207"/>
          <ac:spMkLst>
            <pc:docMk/>
            <pc:sldMk cId="2744971081" sldId="10226"/>
            <ac:spMk id="18" creationId="{A01E7263-0BFC-4A6C-B35E-F66DA3B777A1}"/>
          </ac:spMkLst>
        </pc:spChg>
        <pc:spChg chg="mod">
          <ac:chgData name="Reed Wolfe" userId="d05f6079-100b-4fbc-abf2-3407048ef9c5" providerId="ADAL" clId="{F8CEE9FA-C753-4D6D-ABC2-1A772509A04D}" dt="2021-09-08T11:08:10.688" v="63" actId="207"/>
          <ac:spMkLst>
            <pc:docMk/>
            <pc:sldMk cId="2744971081" sldId="10226"/>
            <ac:spMk id="20" creationId="{A76BCD27-A91E-41A2-9AE0-9E606EDC08EC}"/>
          </ac:spMkLst>
        </pc:spChg>
        <pc:spChg chg="mod">
          <ac:chgData name="Reed Wolfe" userId="d05f6079-100b-4fbc-abf2-3407048ef9c5" providerId="ADAL" clId="{F8CEE9FA-C753-4D6D-ABC2-1A772509A04D}" dt="2021-09-08T11:09:04.801" v="70" actId="207"/>
          <ac:spMkLst>
            <pc:docMk/>
            <pc:sldMk cId="2744971081" sldId="10226"/>
            <ac:spMk id="22" creationId="{9E0600C6-02CC-44C6-993F-A119D0FFBD98}"/>
          </ac:spMkLst>
        </pc:spChg>
        <pc:spChg chg="mod">
          <ac:chgData name="Reed Wolfe" userId="d05f6079-100b-4fbc-abf2-3407048ef9c5" providerId="ADAL" clId="{F8CEE9FA-C753-4D6D-ABC2-1A772509A04D}" dt="2021-09-08T11:09:04.801" v="70" actId="207"/>
          <ac:spMkLst>
            <pc:docMk/>
            <pc:sldMk cId="2744971081" sldId="10226"/>
            <ac:spMk id="23" creationId="{25D287C0-19E5-462B-89A8-CC5EE45568D5}"/>
          </ac:spMkLst>
        </pc:spChg>
        <pc:spChg chg="mod">
          <ac:chgData name="Reed Wolfe" userId="d05f6079-100b-4fbc-abf2-3407048ef9c5" providerId="ADAL" clId="{F8CEE9FA-C753-4D6D-ABC2-1A772509A04D}" dt="2021-09-08T11:08:31.541" v="66" actId="207"/>
          <ac:spMkLst>
            <pc:docMk/>
            <pc:sldMk cId="2744971081" sldId="10226"/>
            <ac:spMk id="26" creationId="{663C5757-1699-4EEC-B106-3EDCEBC77B60}"/>
          </ac:spMkLst>
        </pc:spChg>
        <pc:spChg chg="mod">
          <ac:chgData name="Reed Wolfe" userId="d05f6079-100b-4fbc-abf2-3407048ef9c5" providerId="ADAL" clId="{F8CEE9FA-C753-4D6D-ABC2-1A772509A04D}" dt="2021-09-08T11:08:12.736" v="64" actId="207"/>
          <ac:spMkLst>
            <pc:docMk/>
            <pc:sldMk cId="2744971081" sldId="10226"/>
            <ac:spMk id="39" creationId="{E5320018-A66E-49D1-8E50-32D3EBB61CB8}"/>
          </ac:spMkLst>
        </pc:spChg>
        <pc:spChg chg="mod">
          <ac:chgData name="Reed Wolfe" userId="d05f6079-100b-4fbc-abf2-3407048ef9c5" providerId="ADAL" clId="{F8CEE9FA-C753-4D6D-ABC2-1A772509A04D}" dt="2021-09-08T11:09:10.437" v="71" actId="207"/>
          <ac:spMkLst>
            <pc:docMk/>
            <pc:sldMk cId="2744971081" sldId="10226"/>
            <ac:spMk id="41" creationId="{F1BDF2D6-0E5D-403A-9E43-BEE4486364D3}"/>
          </ac:spMkLst>
        </pc:spChg>
        <pc:spChg chg="mod">
          <ac:chgData name="Reed Wolfe" userId="d05f6079-100b-4fbc-abf2-3407048ef9c5" providerId="ADAL" clId="{F8CEE9FA-C753-4D6D-ABC2-1A772509A04D}" dt="2021-09-08T11:09:10.437" v="71" actId="207"/>
          <ac:spMkLst>
            <pc:docMk/>
            <pc:sldMk cId="2744971081" sldId="10226"/>
            <ac:spMk id="42" creationId="{574C816B-4B98-4CCA-8ABF-EB122DB6E637}"/>
          </ac:spMkLst>
        </pc:spChg>
        <pc:spChg chg="mod">
          <ac:chgData name="Reed Wolfe" userId="d05f6079-100b-4fbc-abf2-3407048ef9c5" providerId="ADAL" clId="{F8CEE9FA-C753-4D6D-ABC2-1A772509A04D}" dt="2021-09-08T11:08:14.975" v="65" actId="207"/>
          <ac:spMkLst>
            <pc:docMk/>
            <pc:sldMk cId="2744971081" sldId="10226"/>
            <ac:spMk id="44" creationId="{5E860710-747A-4001-8935-A914C88E7E60}"/>
          </ac:spMkLst>
        </pc:spChg>
        <pc:spChg chg="mod">
          <ac:chgData name="Reed Wolfe" userId="d05f6079-100b-4fbc-abf2-3407048ef9c5" providerId="ADAL" clId="{F8CEE9FA-C753-4D6D-ABC2-1A772509A04D}" dt="2021-09-08T11:09:15.088" v="72" actId="207"/>
          <ac:spMkLst>
            <pc:docMk/>
            <pc:sldMk cId="2744971081" sldId="10226"/>
            <ac:spMk id="46" creationId="{353848C8-DF97-4DEC-B8C8-C4E1F9403338}"/>
          </ac:spMkLst>
        </pc:spChg>
        <pc:spChg chg="mod">
          <ac:chgData name="Reed Wolfe" userId="d05f6079-100b-4fbc-abf2-3407048ef9c5" providerId="ADAL" clId="{F8CEE9FA-C753-4D6D-ABC2-1A772509A04D}" dt="2021-09-08T11:09:15.088" v="72" actId="207"/>
          <ac:spMkLst>
            <pc:docMk/>
            <pc:sldMk cId="2744971081" sldId="10226"/>
            <ac:spMk id="47" creationId="{9B2B3A3C-B681-48F8-8030-86924AEF7F7C}"/>
          </ac:spMkLst>
        </pc:spChg>
        <pc:spChg chg="mod">
          <ac:chgData name="Reed Wolfe" userId="d05f6079-100b-4fbc-abf2-3407048ef9c5" providerId="ADAL" clId="{F8CEE9FA-C753-4D6D-ABC2-1A772509A04D}" dt="2021-09-08T11:07:58.742" v="60" actId="207"/>
          <ac:spMkLst>
            <pc:docMk/>
            <pc:sldMk cId="2744971081" sldId="10226"/>
            <ac:spMk id="74" creationId="{D6DB623E-5BE1-4E5F-B54F-B6C5E9272ED0}"/>
          </ac:spMkLst>
        </pc:spChg>
        <pc:spChg chg="mod">
          <ac:chgData name="Reed Wolfe" userId="d05f6079-100b-4fbc-abf2-3407048ef9c5" providerId="ADAL" clId="{F8CEE9FA-C753-4D6D-ABC2-1A772509A04D}" dt="2021-09-08T11:08:38.865" v="67" actId="207"/>
          <ac:spMkLst>
            <pc:docMk/>
            <pc:sldMk cId="2744971081" sldId="10226"/>
            <ac:spMk id="76" creationId="{DB01C00E-AE4F-49C2-A687-73B65EB2938F}"/>
          </ac:spMkLst>
        </pc:spChg>
        <pc:spChg chg="mod">
          <ac:chgData name="Reed Wolfe" userId="d05f6079-100b-4fbc-abf2-3407048ef9c5" providerId="ADAL" clId="{F8CEE9FA-C753-4D6D-ABC2-1A772509A04D}" dt="2021-09-08T11:08:38.865" v="67" actId="207"/>
          <ac:spMkLst>
            <pc:docMk/>
            <pc:sldMk cId="2744971081" sldId="10226"/>
            <ac:spMk id="77" creationId="{058DB4EC-92E7-4C6C-92AB-2BAE995B1F52}"/>
          </ac:spMkLst>
        </pc:spChg>
        <pc:grpChg chg="del">
          <ac:chgData name="Reed Wolfe" userId="d05f6079-100b-4fbc-abf2-3407048ef9c5" providerId="ADAL" clId="{F8CEE9FA-C753-4D6D-ABC2-1A772509A04D}" dt="2021-09-08T11:07:43.611" v="57" actId="478"/>
          <ac:grpSpMkLst>
            <pc:docMk/>
            <pc:sldMk cId="2744971081" sldId="10226"/>
            <ac:grpSpMk id="29" creationId="{8D250A39-0E81-43A6-AC4D-FC3740A5595A}"/>
          </ac:grpSpMkLst>
        </pc:grpChg>
        <pc:picChg chg="add">
          <ac:chgData name="Reed Wolfe" userId="d05f6079-100b-4fbc-abf2-3407048ef9c5" providerId="ADAL" clId="{F8CEE9FA-C753-4D6D-ABC2-1A772509A04D}" dt="2021-09-08T11:07:43.915" v="58" actId="22"/>
          <ac:picMkLst>
            <pc:docMk/>
            <pc:sldMk cId="2744971081" sldId="10226"/>
            <ac:picMk id="3" creationId="{07248DFC-1F47-433A-8649-27373306CA4D}"/>
          </ac:picMkLst>
        </pc:picChg>
      </pc:sldChg>
      <pc:sldChg chg="del">
        <pc:chgData name="Reed Wolfe" userId="d05f6079-100b-4fbc-abf2-3407048ef9c5" providerId="ADAL" clId="{F8CEE9FA-C753-4D6D-ABC2-1A772509A04D}" dt="2021-09-08T11:15:25.779" v="108" actId="2696"/>
        <pc:sldMkLst>
          <pc:docMk/>
          <pc:sldMk cId="2351599916" sldId="10227"/>
        </pc:sldMkLst>
      </pc:sldChg>
      <pc:sldChg chg="addSp delSp modSp mod">
        <pc:chgData name="Reed Wolfe" userId="d05f6079-100b-4fbc-abf2-3407048ef9c5" providerId="ADAL" clId="{F8CEE9FA-C753-4D6D-ABC2-1A772509A04D}" dt="2021-09-08T11:07:26.493" v="56" actId="207"/>
        <pc:sldMkLst>
          <pc:docMk/>
          <pc:sldMk cId="3311876511" sldId="10229"/>
        </pc:sldMkLst>
        <pc:spChg chg="mod">
          <ac:chgData name="Reed Wolfe" userId="d05f6079-100b-4fbc-abf2-3407048ef9c5" providerId="ADAL" clId="{F8CEE9FA-C753-4D6D-ABC2-1A772509A04D}" dt="2021-09-08T11:06:21.447" v="49" actId="207"/>
          <ac:spMkLst>
            <pc:docMk/>
            <pc:sldMk cId="3311876511" sldId="10229"/>
            <ac:spMk id="2" creationId="{CC40D7E0-D5FA-4A86-93CD-A73C19FDE61A}"/>
          </ac:spMkLst>
        </pc:spChg>
        <pc:spChg chg="mod">
          <ac:chgData name="Reed Wolfe" userId="d05f6079-100b-4fbc-abf2-3407048ef9c5" providerId="ADAL" clId="{F8CEE9FA-C753-4D6D-ABC2-1A772509A04D}" dt="2021-09-08T11:06:16.422" v="47" actId="207"/>
          <ac:spMkLst>
            <pc:docMk/>
            <pc:sldMk cId="3311876511" sldId="10229"/>
            <ac:spMk id="15" creationId="{CBDE199F-738C-48F9-B2A1-07D56F822D7E}"/>
          </ac:spMkLst>
        </pc:spChg>
        <pc:spChg chg="mod">
          <ac:chgData name="Reed Wolfe" userId="d05f6079-100b-4fbc-abf2-3407048ef9c5" providerId="ADAL" clId="{F8CEE9FA-C753-4D6D-ABC2-1A772509A04D}" dt="2021-09-08T11:07:11.737" v="54" actId="207"/>
          <ac:spMkLst>
            <pc:docMk/>
            <pc:sldMk cId="3311876511" sldId="10229"/>
            <ac:spMk id="17" creationId="{E2F1FDBB-D7C2-4066-81A0-81490BE00D94}"/>
          </ac:spMkLst>
        </pc:spChg>
        <pc:spChg chg="mod">
          <ac:chgData name="Reed Wolfe" userId="d05f6079-100b-4fbc-abf2-3407048ef9c5" providerId="ADAL" clId="{F8CEE9FA-C753-4D6D-ABC2-1A772509A04D}" dt="2021-09-08T11:07:11.737" v="54" actId="207"/>
          <ac:spMkLst>
            <pc:docMk/>
            <pc:sldMk cId="3311876511" sldId="10229"/>
            <ac:spMk id="18" creationId="{A01E7263-0BFC-4A6C-B35E-F66DA3B777A1}"/>
          </ac:spMkLst>
        </pc:spChg>
        <pc:spChg chg="mod">
          <ac:chgData name="Reed Wolfe" userId="d05f6079-100b-4fbc-abf2-3407048ef9c5" providerId="ADAL" clId="{F8CEE9FA-C753-4D6D-ABC2-1A772509A04D}" dt="2021-09-08T11:06:14.344" v="46" actId="207"/>
          <ac:spMkLst>
            <pc:docMk/>
            <pc:sldMk cId="3311876511" sldId="10229"/>
            <ac:spMk id="20" creationId="{A76BCD27-A91E-41A2-9AE0-9E606EDC08EC}"/>
          </ac:spMkLst>
        </pc:spChg>
        <pc:spChg chg="mod">
          <ac:chgData name="Reed Wolfe" userId="d05f6079-100b-4fbc-abf2-3407048ef9c5" providerId="ADAL" clId="{F8CEE9FA-C753-4D6D-ABC2-1A772509A04D}" dt="2021-09-08T11:07:17.632" v="55" actId="207"/>
          <ac:spMkLst>
            <pc:docMk/>
            <pc:sldMk cId="3311876511" sldId="10229"/>
            <ac:spMk id="22" creationId="{9E0600C6-02CC-44C6-993F-A119D0FFBD98}"/>
          </ac:spMkLst>
        </pc:spChg>
        <pc:spChg chg="mod">
          <ac:chgData name="Reed Wolfe" userId="d05f6079-100b-4fbc-abf2-3407048ef9c5" providerId="ADAL" clId="{F8CEE9FA-C753-4D6D-ABC2-1A772509A04D}" dt="2021-09-08T11:07:17.632" v="55" actId="207"/>
          <ac:spMkLst>
            <pc:docMk/>
            <pc:sldMk cId="3311876511" sldId="10229"/>
            <ac:spMk id="23" creationId="{25D287C0-19E5-462B-89A8-CC5EE45568D5}"/>
          </ac:spMkLst>
        </pc:spChg>
        <pc:spChg chg="mod">
          <ac:chgData name="Reed Wolfe" userId="d05f6079-100b-4fbc-abf2-3407048ef9c5" providerId="ADAL" clId="{F8CEE9FA-C753-4D6D-ABC2-1A772509A04D}" dt="2021-09-08T11:06:38.338" v="52" actId="207"/>
          <ac:spMkLst>
            <pc:docMk/>
            <pc:sldMk cId="3311876511" sldId="10229"/>
            <ac:spMk id="26" creationId="{663C5757-1699-4EEC-B106-3EDCEBC77B60}"/>
          </ac:spMkLst>
        </pc:spChg>
        <pc:spChg chg="mod">
          <ac:chgData name="Reed Wolfe" userId="d05f6079-100b-4fbc-abf2-3407048ef9c5" providerId="ADAL" clId="{F8CEE9FA-C753-4D6D-ABC2-1A772509A04D}" dt="2021-09-08T11:06:12.187" v="45" actId="207"/>
          <ac:spMkLst>
            <pc:docMk/>
            <pc:sldMk cId="3311876511" sldId="10229"/>
            <ac:spMk id="39" creationId="{E5320018-A66E-49D1-8E50-32D3EBB61CB8}"/>
          </ac:spMkLst>
        </pc:spChg>
        <pc:spChg chg="mod">
          <ac:chgData name="Reed Wolfe" userId="d05f6079-100b-4fbc-abf2-3407048ef9c5" providerId="ADAL" clId="{F8CEE9FA-C753-4D6D-ABC2-1A772509A04D}" dt="2021-09-08T11:07:26.493" v="56" actId="207"/>
          <ac:spMkLst>
            <pc:docMk/>
            <pc:sldMk cId="3311876511" sldId="10229"/>
            <ac:spMk id="41" creationId="{F1BDF2D6-0E5D-403A-9E43-BEE4486364D3}"/>
          </ac:spMkLst>
        </pc:spChg>
        <pc:spChg chg="mod">
          <ac:chgData name="Reed Wolfe" userId="d05f6079-100b-4fbc-abf2-3407048ef9c5" providerId="ADAL" clId="{F8CEE9FA-C753-4D6D-ABC2-1A772509A04D}" dt="2021-09-08T11:07:26.493" v="56" actId="207"/>
          <ac:spMkLst>
            <pc:docMk/>
            <pc:sldMk cId="3311876511" sldId="10229"/>
            <ac:spMk id="42" creationId="{574C816B-4B98-4CCA-8ABF-EB122DB6E637}"/>
          </ac:spMkLst>
        </pc:spChg>
        <pc:spChg chg="mod">
          <ac:chgData name="Reed Wolfe" userId="d05f6079-100b-4fbc-abf2-3407048ef9c5" providerId="ADAL" clId="{F8CEE9FA-C753-4D6D-ABC2-1A772509A04D}" dt="2021-09-08T11:06:18.467" v="48" actId="207"/>
          <ac:spMkLst>
            <pc:docMk/>
            <pc:sldMk cId="3311876511" sldId="10229"/>
            <ac:spMk id="74" creationId="{D6DB623E-5BE1-4E5F-B54F-B6C5E9272ED0}"/>
          </ac:spMkLst>
        </pc:spChg>
        <pc:spChg chg="mod">
          <ac:chgData name="Reed Wolfe" userId="d05f6079-100b-4fbc-abf2-3407048ef9c5" providerId="ADAL" clId="{F8CEE9FA-C753-4D6D-ABC2-1A772509A04D}" dt="2021-09-08T11:07:02.819" v="53" actId="207"/>
          <ac:spMkLst>
            <pc:docMk/>
            <pc:sldMk cId="3311876511" sldId="10229"/>
            <ac:spMk id="76" creationId="{DB01C00E-AE4F-49C2-A687-73B65EB2938F}"/>
          </ac:spMkLst>
        </pc:spChg>
        <pc:spChg chg="mod">
          <ac:chgData name="Reed Wolfe" userId="d05f6079-100b-4fbc-abf2-3407048ef9c5" providerId="ADAL" clId="{F8CEE9FA-C753-4D6D-ABC2-1A772509A04D}" dt="2021-09-08T11:07:02.819" v="53" actId="207"/>
          <ac:spMkLst>
            <pc:docMk/>
            <pc:sldMk cId="3311876511" sldId="10229"/>
            <ac:spMk id="77" creationId="{058DB4EC-92E7-4C6C-92AB-2BAE995B1F52}"/>
          </ac:spMkLst>
        </pc:spChg>
        <pc:grpChg chg="del">
          <ac:chgData name="Reed Wolfe" userId="d05f6079-100b-4fbc-abf2-3407048ef9c5" providerId="ADAL" clId="{F8CEE9FA-C753-4D6D-ABC2-1A772509A04D}" dt="2021-09-08T11:06:29.032" v="50" actId="478"/>
          <ac:grpSpMkLst>
            <pc:docMk/>
            <pc:sldMk cId="3311876511" sldId="10229"/>
            <ac:grpSpMk id="29" creationId="{8D250A39-0E81-43A6-AC4D-FC3740A5595A}"/>
          </ac:grpSpMkLst>
        </pc:grpChg>
        <pc:picChg chg="add">
          <ac:chgData name="Reed Wolfe" userId="d05f6079-100b-4fbc-abf2-3407048ef9c5" providerId="ADAL" clId="{F8CEE9FA-C753-4D6D-ABC2-1A772509A04D}" dt="2021-09-08T11:06:29.322" v="51" actId="22"/>
          <ac:picMkLst>
            <pc:docMk/>
            <pc:sldMk cId="3311876511" sldId="10229"/>
            <ac:picMk id="3" creationId="{DCD9E98A-AD86-41BB-8A28-0F4DB189C303}"/>
          </ac:picMkLst>
        </pc:picChg>
      </pc:sldChg>
      <pc:sldChg chg="del">
        <pc:chgData name="Reed Wolfe" userId="d05f6079-100b-4fbc-abf2-3407048ef9c5" providerId="ADAL" clId="{F8CEE9FA-C753-4D6D-ABC2-1A772509A04D}" dt="2021-09-08T11:15:28.392" v="109" actId="2696"/>
        <pc:sldMkLst>
          <pc:docMk/>
          <pc:sldMk cId="1545164424" sldId="10230"/>
        </pc:sldMkLst>
      </pc:sldChg>
      <pc:sldChg chg="modSp add mod">
        <pc:chgData name="Reed Wolfe" userId="d05f6079-100b-4fbc-abf2-3407048ef9c5" providerId="ADAL" clId="{F8CEE9FA-C753-4D6D-ABC2-1A772509A04D}" dt="2021-09-08T11:15:04.153" v="105" actId="20577"/>
        <pc:sldMkLst>
          <pc:docMk/>
          <pc:sldMk cId="2366127103" sldId="10231"/>
        </pc:sldMkLst>
        <pc:spChg chg="mod">
          <ac:chgData name="Reed Wolfe" userId="d05f6079-100b-4fbc-abf2-3407048ef9c5" providerId="ADAL" clId="{F8CEE9FA-C753-4D6D-ABC2-1A772509A04D}" dt="2021-09-08T11:15:04.153" v="105" actId="20577"/>
          <ac:spMkLst>
            <pc:docMk/>
            <pc:sldMk cId="2366127103" sldId="10231"/>
            <ac:spMk id="2" creationId="{45010FE8-BF09-4146-B084-66CB05B66FD9}"/>
          </ac:spMkLst>
        </pc:spChg>
      </pc:sldChg>
      <pc:sldChg chg="modSp add mod">
        <pc:chgData name="Reed Wolfe" userId="d05f6079-100b-4fbc-abf2-3407048ef9c5" providerId="ADAL" clId="{F8CEE9FA-C753-4D6D-ABC2-1A772509A04D}" dt="2021-09-08T11:15:09.908" v="107" actId="20577"/>
        <pc:sldMkLst>
          <pc:docMk/>
          <pc:sldMk cId="3426434945" sldId="10232"/>
        </pc:sldMkLst>
        <pc:spChg chg="mod">
          <ac:chgData name="Reed Wolfe" userId="d05f6079-100b-4fbc-abf2-3407048ef9c5" providerId="ADAL" clId="{F8CEE9FA-C753-4D6D-ABC2-1A772509A04D}" dt="2021-09-08T11:15:09.908" v="107" actId="20577"/>
          <ac:spMkLst>
            <pc:docMk/>
            <pc:sldMk cId="3426434945" sldId="10232"/>
            <ac:spMk id="2" creationId="{45010FE8-BF09-4146-B084-66CB05B66FD9}"/>
          </ac:spMkLst>
        </pc:spChg>
      </pc:sldChg>
      <pc:sldMasterChg chg="modSldLayout">
        <pc:chgData name="Reed Wolfe" userId="d05f6079-100b-4fbc-abf2-3407048ef9c5" providerId="ADAL" clId="{F8CEE9FA-C753-4D6D-ABC2-1A772509A04D}" dt="2021-09-08T10:56:14.475" v="9" actId="207"/>
        <pc:sldMasterMkLst>
          <pc:docMk/>
          <pc:sldMasterMk cId="993860654" sldId="2147483660"/>
        </pc:sldMasterMkLst>
        <pc:sldLayoutChg chg="modSp mod">
          <pc:chgData name="Reed Wolfe" userId="d05f6079-100b-4fbc-abf2-3407048ef9c5" providerId="ADAL" clId="{F8CEE9FA-C753-4D6D-ABC2-1A772509A04D}" dt="2021-09-08T10:56:14.475" v="9" actId="207"/>
          <pc:sldLayoutMkLst>
            <pc:docMk/>
            <pc:sldMasterMk cId="993860654" sldId="2147483660"/>
            <pc:sldLayoutMk cId="1244579940" sldId="2147483703"/>
          </pc:sldLayoutMkLst>
          <pc:picChg chg="mod">
            <ac:chgData name="Reed Wolfe" userId="d05f6079-100b-4fbc-abf2-3407048ef9c5" providerId="ADAL" clId="{F8CEE9FA-C753-4D6D-ABC2-1A772509A04D}" dt="2021-09-08T10:56:14.475" v="9" actId="207"/>
            <ac:picMkLst>
              <pc:docMk/>
              <pc:sldMasterMk cId="993860654" sldId="2147483660"/>
              <pc:sldLayoutMk cId="1244579940" sldId="2147483703"/>
              <ac:picMk id="13" creationId="{D925D7E7-2E5D-4A14-A0B0-6CBD592C2D71}"/>
            </ac:picMkLst>
          </pc:picChg>
        </pc:sldLayoutChg>
      </pc:sldMasterChg>
    </pc:docChg>
  </pc:docChgLst>
  <pc:docChgLst>
    <pc:chgData name="Timo Gossen" userId="4ec7f864-84f7-407f-b8f9-5c31d0de0089" providerId="ADAL" clId="{571CDA5C-BF26-48DF-9431-1F0E911D99DD}"/>
    <pc:docChg chg="undo redo custSel addSld delSld modSld sldOrd addMainMaster delMainMaster modMainMaster modSection">
      <pc:chgData name="Timo Gossen" userId="4ec7f864-84f7-407f-b8f9-5c31d0de0089" providerId="ADAL" clId="{571CDA5C-BF26-48DF-9431-1F0E911D99DD}" dt="2020-08-12T15:36:56.440" v="334" actId="47"/>
      <pc:docMkLst>
        <pc:docMk/>
      </pc:docMkLst>
      <pc:sldChg chg="modSp del mod modClrScheme chgLayout">
        <pc:chgData name="Timo Gossen" userId="4ec7f864-84f7-407f-b8f9-5c31d0de0089" providerId="ADAL" clId="{571CDA5C-BF26-48DF-9431-1F0E911D99DD}" dt="2020-08-12T15:36:56.440" v="334" actId="47"/>
        <pc:sldMkLst>
          <pc:docMk/>
          <pc:sldMk cId="3595080800" sldId="3128"/>
        </pc:sldMkLst>
        <pc:spChg chg="mod ord">
          <ac:chgData name="Timo Gossen" userId="4ec7f864-84f7-407f-b8f9-5c31d0de0089" providerId="ADAL" clId="{571CDA5C-BF26-48DF-9431-1F0E911D99DD}" dt="2020-08-12T15:34:40.134" v="325" actId="700"/>
          <ac:spMkLst>
            <pc:docMk/>
            <pc:sldMk cId="3595080800" sldId="3128"/>
            <ac:spMk id="2" creationId="{3D2FBC0D-DE8D-4835-81AF-E0530F5D8C22}"/>
          </ac:spMkLst>
        </pc:spChg>
        <pc:spChg chg="mod ord">
          <ac:chgData name="Timo Gossen" userId="4ec7f864-84f7-407f-b8f9-5c31d0de0089" providerId="ADAL" clId="{571CDA5C-BF26-48DF-9431-1F0E911D99DD}" dt="2020-08-12T15:34:40.134" v="325" actId="700"/>
          <ac:spMkLst>
            <pc:docMk/>
            <pc:sldMk cId="3595080800" sldId="3128"/>
            <ac:spMk id="3" creationId="{58A57B2E-0349-4635-A050-A1A992C931BE}"/>
          </ac:spMkLst>
        </pc:spChg>
      </pc:sldChg>
      <pc:sldChg chg="new del">
        <pc:chgData name="Timo Gossen" userId="4ec7f864-84f7-407f-b8f9-5c31d0de0089" providerId="ADAL" clId="{571CDA5C-BF26-48DF-9431-1F0E911D99DD}" dt="2020-08-12T15:27:46.061" v="200" actId="47"/>
        <pc:sldMkLst>
          <pc:docMk/>
          <pc:sldMk cId="1163603389" sldId="10222"/>
        </pc:sldMkLst>
      </pc:sldChg>
      <pc:sldChg chg="new del">
        <pc:chgData name="Timo Gossen" userId="4ec7f864-84f7-407f-b8f9-5c31d0de0089" providerId="ADAL" clId="{571CDA5C-BF26-48DF-9431-1F0E911D99DD}" dt="2020-08-12T15:23:56.115" v="114" actId="680"/>
        <pc:sldMkLst>
          <pc:docMk/>
          <pc:sldMk cId="1676232571" sldId="10222"/>
        </pc:sldMkLst>
      </pc:sldChg>
      <pc:sldChg chg="modSp new del mod">
        <pc:chgData name="Timo Gossen" userId="4ec7f864-84f7-407f-b8f9-5c31d0de0089" providerId="ADAL" clId="{571CDA5C-BF26-48DF-9431-1F0E911D99DD}" dt="2020-08-12T15:33:22.183" v="323" actId="47"/>
        <pc:sldMkLst>
          <pc:docMk/>
          <pc:sldMk cId="2826786475" sldId="10222"/>
        </pc:sldMkLst>
        <pc:spChg chg="mod">
          <ac:chgData name="Timo Gossen" userId="4ec7f864-84f7-407f-b8f9-5c31d0de0089" providerId="ADAL" clId="{571CDA5C-BF26-48DF-9431-1F0E911D99DD}" dt="2020-08-12T15:32:26.293" v="318" actId="20577"/>
          <ac:spMkLst>
            <pc:docMk/>
            <pc:sldMk cId="2826786475" sldId="10222"/>
            <ac:spMk id="2" creationId="{C6E666C4-11F0-43E8-AA0B-70EFAB41DB33}"/>
          </ac:spMkLst>
        </pc:spChg>
        <pc:spChg chg="mod">
          <ac:chgData name="Timo Gossen" userId="4ec7f864-84f7-407f-b8f9-5c31d0de0089" providerId="ADAL" clId="{571CDA5C-BF26-48DF-9431-1F0E911D99DD}" dt="2020-08-12T15:32:22.691" v="306" actId="20577"/>
          <ac:spMkLst>
            <pc:docMk/>
            <pc:sldMk cId="2826786475" sldId="10222"/>
            <ac:spMk id="3" creationId="{56FE78D7-A71E-4A0E-8ADB-0D3E67663262}"/>
          </ac:spMkLst>
        </pc:spChg>
      </pc:sldChg>
      <pc:sldChg chg="modSp new del mod">
        <pc:chgData name="Timo Gossen" userId="4ec7f864-84f7-407f-b8f9-5c31d0de0089" providerId="ADAL" clId="{571CDA5C-BF26-48DF-9431-1F0E911D99DD}" dt="2020-08-12T15:30:02.199" v="235" actId="680"/>
        <pc:sldMkLst>
          <pc:docMk/>
          <pc:sldMk cId="3035936588" sldId="10222"/>
        </pc:sldMkLst>
        <pc:spChg chg="mod">
          <ac:chgData name="Timo Gossen" userId="4ec7f864-84f7-407f-b8f9-5c31d0de0089" providerId="ADAL" clId="{571CDA5C-BF26-48DF-9431-1F0E911D99DD}" dt="2020-08-12T15:30:01.552" v="234" actId="20577"/>
          <ac:spMkLst>
            <pc:docMk/>
            <pc:sldMk cId="3035936588" sldId="10222"/>
            <ac:spMk id="2" creationId="{26033C49-D262-4190-8CFB-FFE95BAE97E1}"/>
          </ac:spMkLst>
        </pc:spChg>
      </pc:sldChg>
      <pc:sldChg chg="addSp delSp modSp add mod modClrScheme chgLayout">
        <pc:chgData name="Timo Gossen" userId="4ec7f864-84f7-407f-b8f9-5c31d0de0089" providerId="ADAL" clId="{571CDA5C-BF26-48DF-9431-1F0E911D99DD}" dt="2020-08-12T15:36:32.338" v="333" actId="6549"/>
        <pc:sldMkLst>
          <pc:docMk/>
          <pc:sldMk cId="3300356148" sldId="10222"/>
        </pc:sldMkLst>
        <pc:spChg chg="del mod ord">
          <ac:chgData name="Timo Gossen" userId="4ec7f864-84f7-407f-b8f9-5c31d0de0089" providerId="ADAL" clId="{571CDA5C-BF26-48DF-9431-1F0E911D99DD}" dt="2020-08-12T15:35:09.867" v="329" actId="478"/>
          <ac:spMkLst>
            <pc:docMk/>
            <pc:sldMk cId="3300356148" sldId="10222"/>
            <ac:spMk id="2" creationId="{3D2FBC0D-DE8D-4835-81AF-E0530F5D8C22}"/>
          </ac:spMkLst>
        </pc:spChg>
        <pc:spChg chg="del mod ord">
          <ac:chgData name="Timo Gossen" userId="4ec7f864-84f7-407f-b8f9-5c31d0de0089" providerId="ADAL" clId="{571CDA5C-BF26-48DF-9431-1F0E911D99DD}" dt="2020-08-12T15:35:01.062" v="328" actId="478"/>
          <ac:spMkLst>
            <pc:docMk/>
            <pc:sldMk cId="3300356148" sldId="10222"/>
            <ac:spMk id="3" creationId="{58A57B2E-0349-4635-A050-A1A992C931BE}"/>
          </ac:spMkLst>
        </pc:spChg>
        <pc:spChg chg="add del mod">
          <ac:chgData name="Timo Gossen" userId="4ec7f864-84f7-407f-b8f9-5c31d0de0089" providerId="ADAL" clId="{571CDA5C-BF26-48DF-9431-1F0E911D99DD}" dt="2020-08-12T15:35:09.867" v="329" actId="478"/>
          <ac:spMkLst>
            <pc:docMk/>
            <pc:sldMk cId="3300356148" sldId="10222"/>
            <ac:spMk id="7" creationId="{0D14511B-56AF-4331-A1F7-D4B5DB9F5CD6}"/>
          </ac:spMkLst>
        </pc:spChg>
        <pc:spChg chg="del">
          <ac:chgData name="Timo Gossen" userId="4ec7f864-84f7-407f-b8f9-5c31d0de0089" providerId="ADAL" clId="{571CDA5C-BF26-48DF-9431-1F0E911D99DD}" dt="2020-08-12T15:35:09.867" v="329" actId="478"/>
          <ac:spMkLst>
            <pc:docMk/>
            <pc:sldMk cId="3300356148" sldId="10222"/>
            <ac:spMk id="8" creationId="{EF71901D-08E6-456A-B179-0974743D7981}"/>
          </ac:spMkLst>
        </pc:spChg>
        <pc:spChg chg="add del mod">
          <ac:chgData name="Timo Gossen" userId="4ec7f864-84f7-407f-b8f9-5c31d0de0089" providerId="ADAL" clId="{571CDA5C-BF26-48DF-9431-1F0E911D99DD}" dt="2020-08-12T15:35:34.020" v="331" actId="478"/>
          <ac:spMkLst>
            <pc:docMk/>
            <pc:sldMk cId="3300356148" sldId="10222"/>
            <ac:spMk id="10" creationId="{9F73419B-6863-48A9-A189-F6F8CB489940}"/>
          </ac:spMkLst>
        </pc:spChg>
        <pc:spChg chg="add mod">
          <ac:chgData name="Timo Gossen" userId="4ec7f864-84f7-407f-b8f9-5c31d0de0089" providerId="ADAL" clId="{571CDA5C-BF26-48DF-9431-1F0E911D99DD}" dt="2020-08-12T15:36:32.338" v="333" actId="6549"/>
          <ac:spMkLst>
            <pc:docMk/>
            <pc:sldMk cId="3300356148" sldId="10222"/>
            <ac:spMk id="11" creationId="{E5BCFD79-ACCF-4415-ABDE-04E18E58FD42}"/>
          </ac:spMkLst>
        </pc:spChg>
        <pc:spChg chg="add mod">
          <ac:chgData name="Timo Gossen" userId="4ec7f864-84f7-407f-b8f9-5c31d0de0089" providerId="ADAL" clId="{571CDA5C-BF26-48DF-9431-1F0E911D99DD}" dt="2020-08-12T15:35:31.526" v="330"/>
          <ac:spMkLst>
            <pc:docMk/>
            <pc:sldMk cId="3300356148" sldId="10222"/>
            <ac:spMk id="12" creationId="{48E052C0-54A6-4E53-A82E-17201AAB42C3}"/>
          </ac:spMkLst>
        </pc:spChg>
        <pc:spChg chg="add mod">
          <ac:chgData name="Timo Gossen" userId="4ec7f864-84f7-407f-b8f9-5c31d0de0089" providerId="ADAL" clId="{571CDA5C-BF26-48DF-9431-1F0E911D99DD}" dt="2020-08-12T15:36:07.665" v="332" actId="6549"/>
          <ac:spMkLst>
            <pc:docMk/>
            <pc:sldMk cId="3300356148" sldId="10222"/>
            <ac:spMk id="13" creationId="{5865844A-B378-4D24-B7F0-B5D3709F5455}"/>
          </ac:spMkLst>
        </pc:spChg>
      </pc:sldChg>
      <pc:sldChg chg="new del ord">
        <pc:chgData name="Timo Gossen" userId="4ec7f864-84f7-407f-b8f9-5c31d0de0089" providerId="ADAL" clId="{571CDA5C-BF26-48DF-9431-1F0E911D99DD}" dt="2020-08-12T15:33:18.254" v="322" actId="47"/>
        <pc:sldMkLst>
          <pc:docMk/>
          <pc:sldMk cId="3294335654" sldId="10223"/>
        </pc:sldMkLst>
      </pc:sldChg>
      <pc:sldMasterChg chg="addSldLayout delSldLayout modSldLayout sldLayoutOrd">
        <pc:chgData name="Timo Gossen" userId="4ec7f864-84f7-407f-b8f9-5c31d0de0089" providerId="ADAL" clId="{571CDA5C-BF26-48DF-9431-1F0E911D99DD}" dt="2020-08-12T15:31:50.671" v="254" actId="20578"/>
        <pc:sldMasterMkLst>
          <pc:docMk/>
          <pc:sldMasterMk cId="993860654" sldId="2147483660"/>
        </pc:sldMasterMkLst>
        <pc:sldLayoutChg chg="del">
          <pc:chgData name="Timo Gossen" userId="4ec7f864-84f7-407f-b8f9-5c31d0de0089" providerId="ADAL" clId="{571CDA5C-BF26-48DF-9431-1F0E911D99DD}" dt="2020-08-12T15:23:15.453" v="104" actId="2696"/>
          <pc:sldLayoutMkLst>
            <pc:docMk/>
            <pc:sldMasterMk cId="993860654" sldId="2147483660"/>
            <pc:sldLayoutMk cId="3865412602" sldId="2147483668"/>
          </pc:sldLayoutMkLst>
        </pc:sldLayoutChg>
        <pc:sldLayoutChg chg="del">
          <pc:chgData name="Timo Gossen" userId="4ec7f864-84f7-407f-b8f9-5c31d0de0089" providerId="ADAL" clId="{571CDA5C-BF26-48DF-9431-1F0E911D99DD}" dt="2020-08-12T15:23:16.084" v="105" actId="2696"/>
          <pc:sldLayoutMkLst>
            <pc:docMk/>
            <pc:sldMasterMk cId="993860654" sldId="2147483660"/>
            <pc:sldLayoutMk cId="2902751547" sldId="2147483669"/>
          </pc:sldLayoutMkLst>
        </pc:sldLayoutChg>
        <pc:sldLayoutChg chg="del">
          <pc:chgData name="Timo Gossen" userId="4ec7f864-84f7-407f-b8f9-5c31d0de0089" providerId="ADAL" clId="{571CDA5C-BF26-48DF-9431-1F0E911D99DD}" dt="2020-08-12T15:23:17.372" v="106" actId="2696"/>
          <pc:sldLayoutMkLst>
            <pc:docMk/>
            <pc:sldMasterMk cId="993860654" sldId="2147483660"/>
            <pc:sldLayoutMk cId="3140524480" sldId="2147483670"/>
          </pc:sldLayoutMkLst>
        </pc:sldLayoutChg>
        <pc:sldLayoutChg chg="del">
          <pc:chgData name="Timo Gossen" userId="4ec7f864-84f7-407f-b8f9-5c31d0de0089" providerId="ADAL" clId="{571CDA5C-BF26-48DF-9431-1F0E911D99DD}" dt="2020-08-12T15:23:20.885" v="107" actId="2696"/>
          <pc:sldLayoutMkLst>
            <pc:docMk/>
            <pc:sldMasterMk cId="993860654" sldId="2147483660"/>
            <pc:sldLayoutMk cId="3377344804" sldId="2147483672"/>
          </pc:sldLayoutMkLst>
        </pc:sldLayoutChg>
        <pc:sldLayoutChg chg="del">
          <pc:chgData name="Timo Gossen" userId="4ec7f864-84f7-407f-b8f9-5c31d0de0089" providerId="ADAL" clId="{571CDA5C-BF26-48DF-9431-1F0E911D99DD}" dt="2020-08-12T15:23:22.234" v="108" actId="2696"/>
          <pc:sldLayoutMkLst>
            <pc:docMk/>
            <pc:sldMasterMk cId="993860654" sldId="2147483660"/>
            <pc:sldLayoutMk cId="1391368204" sldId="2147483673"/>
          </pc:sldLayoutMkLst>
        </pc:sldLayoutChg>
        <pc:sldLayoutChg chg="addSp delSp modSp">
          <pc:chgData name="Timo Gossen" userId="4ec7f864-84f7-407f-b8f9-5c31d0de0089" providerId="ADAL" clId="{571CDA5C-BF26-48DF-9431-1F0E911D99DD}" dt="2020-08-12T15:20:47.122" v="4"/>
          <pc:sldLayoutMkLst>
            <pc:docMk/>
            <pc:sldMasterMk cId="993860654" sldId="2147483660"/>
            <pc:sldLayoutMk cId="2821154334" sldId="2147483674"/>
          </pc:sldLayoutMkLst>
          <pc:spChg chg="add del mod">
            <ac:chgData name="Timo Gossen" userId="4ec7f864-84f7-407f-b8f9-5c31d0de0089" providerId="ADAL" clId="{571CDA5C-BF26-48DF-9431-1F0E911D99DD}" dt="2020-08-12T15:20:47.122" v="4"/>
            <ac:spMkLst>
              <pc:docMk/>
              <pc:sldMasterMk cId="993860654" sldId="2147483660"/>
              <pc:sldLayoutMk cId="2821154334" sldId="2147483674"/>
              <ac:spMk id="3" creationId="{F2FA4B70-7DEB-4514-8A29-5B4F8425A4FC}"/>
            </ac:spMkLst>
          </pc:spChg>
          <pc:spChg chg="mod">
            <ac:chgData name="Timo Gossen" userId="4ec7f864-84f7-407f-b8f9-5c31d0de0089" providerId="ADAL" clId="{571CDA5C-BF26-48DF-9431-1F0E911D99DD}" dt="2020-08-12T15:20:45.362" v="3"/>
            <ac:spMkLst>
              <pc:docMk/>
              <pc:sldMasterMk cId="993860654" sldId="2147483660"/>
              <pc:sldLayoutMk cId="2821154334" sldId="2147483674"/>
              <ac:spMk id="5" creationId="{11D64C84-7729-4097-B689-A646C45CE8D1}"/>
            </ac:spMkLst>
          </pc:spChg>
          <pc:spChg chg="mod">
            <ac:chgData name="Timo Gossen" userId="4ec7f864-84f7-407f-b8f9-5c31d0de0089" providerId="ADAL" clId="{571CDA5C-BF26-48DF-9431-1F0E911D99DD}" dt="2020-08-12T15:20:45.362" v="3"/>
            <ac:spMkLst>
              <pc:docMk/>
              <pc:sldMasterMk cId="993860654" sldId="2147483660"/>
              <pc:sldLayoutMk cId="2821154334" sldId="2147483674"/>
              <ac:spMk id="7" creationId="{E608E1EC-F18B-467B-B9B7-5FBFD1BF8960}"/>
            </ac:spMkLst>
          </pc:spChg>
          <pc:spChg chg="mod">
            <ac:chgData name="Timo Gossen" userId="4ec7f864-84f7-407f-b8f9-5c31d0de0089" providerId="ADAL" clId="{571CDA5C-BF26-48DF-9431-1F0E911D99DD}" dt="2020-08-12T15:20:45.362" v="3"/>
            <ac:spMkLst>
              <pc:docMk/>
              <pc:sldMasterMk cId="993860654" sldId="2147483660"/>
              <pc:sldLayoutMk cId="2821154334" sldId="2147483674"/>
              <ac:spMk id="8" creationId="{33D69C23-3433-4672-9B4B-768707DB1440}"/>
            </ac:spMkLst>
          </pc:spChg>
          <pc:spChg chg="add del mod">
            <ac:chgData name="Timo Gossen" userId="4ec7f864-84f7-407f-b8f9-5c31d0de0089" providerId="ADAL" clId="{571CDA5C-BF26-48DF-9431-1F0E911D99DD}" dt="2020-08-12T15:20:47.122" v="4"/>
            <ac:spMkLst>
              <pc:docMk/>
              <pc:sldMasterMk cId="993860654" sldId="2147483660"/>
              <pc:sldLayoutMk cId="2821154334" sldId="2147483674"/>
              <ac:spMk id="9" creationId="{E86BB5A2-DF3B-4435-8BB9-648FAB669108}"/>
            </ac:spMkLst>
          </pc:spChg>
          <pc:spChg chg="add del mod">
            <ac:chgData name="Timo Gossen" userId="4ec7f864-84f7-407f-b8f9-5c31d0de0089" providerId="ADAL" clId="{571CDA5C-BF26-48DF-9431-1F0E911D99DD}" dt="2020-08-12T15:20:47.122" v="4"/>
            <ac:spMkLst>
              <pc:docMk/>
              <pc:sldMasterMk cId="993860654" sldId="2147483660"/>
              <pc:sldLayoutMk cId="2821154334" sldId="2147483674"/>
              <ac:spMk id="10" creationId="{42974151-4C3A-44AD-ADB9-1CAC66F7E51E}"/>
            </ac:spMkLst>
          </pc:spChg>
          <pc:grpChg chg="add del mod">
            <ac:chgData name="Timo Gossen" userId="4ec7f864-84f7-407f-b8f9-5c31d0de0089" providerId="ADAL" clId="{571CDA5C-BF26-48DF-9431-1F0E911D99DD}" dt="2020-08-12T15:20:47.122" v="4"/>
            <ac:grpSpMkLst>
              <pc:docMk/>
              <pc:sldMasterMk cId="993860654" sldId="2147483660"/>
              <pc:sldLayoutMk cId="2821154334" sldId="2147483674"/>
              <ac:grpSpMk id="4" creationId="{8902D686-17ED-46AD-AB31-1DE4A4A608C2}"/>
            </ac:grpSpMkLst>
          </pc:grpChg>
          <pc:grpChg chg="mod">
            <ac:chgData name="Timo Gossen" userId="4ec7f864-84f7-407f-b8f9-5c31d0de0089" providerId="ADAL" clId="{571CDA5C-BF26-48DF-9431-1F0E911D99DD}" dt="2020-08-12T15:20:45.362" v="3"/>
            <ac:grpSpMkLst>
              <pc:docMk/>
              <pc:sldMasterMk cId="993860654" sldId="2147483660"/>
              <pc:sldLayoutMk cId="2821154334" sldId="2147483674"/>
              <ac:grpSpMk id="6" creationId="{7744BD8E-38E6-4C1C-A674-93A3A76AE571}"/>
            </ac:grpSpMkLst>
          </pc:grpChg>
        </pc:sldLayoutChg>
        <pc:sldLayoutChg chg="del">
          <pc:chgData name="Timo Gossen" userId="4ec7f864-84f7-407f-b8f9-5c31d0de0089" providerId="ADAL" clId="{571CDA5C-BF26-48DF-9431-1F0E911D99DD}" dt="2020-08-12T15:23:25.437" v="109" actId="2696"/>
          <pc:sldLayoutMkLst>
            <pc:docMk/>
            <pc:sldMasterMk cId="993860654" sldId="2147483660"/>
            <pc:sldLayoutMk cId="2994909284" sldId="2147483675"/>
          </pc:sldLayoutMkLst>
        </pc:sldLayoutChg>
        <pc:sldLayoutChg chg="del">
          <pc:chgData name="Timo Gossen" userId="4ec7f864-84f7-407f-b8f9-5c31d0de0089" providerId="ADAL" clId="{571CDA5C-BF26-48DF-9431-1F0E911D99DD}" dt="2020-08-12T15:23:32.856" v="110" actId="2696"/>
          <pc:sldLayoutMkLst>
            <pc:docMk/>
            <pc:sldMasterMk cId="993860654" sldId="2147483660"/>
            <pc:sldLayoutMk cId="29511025" sldId="2147483676"/>
          </pc:sldLayoutMkLst>
        </pc:sldLayoutChg>
        <pc:sldLayoutChg chg="del">
          <pc:chgData name="Timo Gossen" userId="4ec7f864-84f7-407f-b8f9-5c31d0de0089" providerId="ADAL" clId="{571CDA5C-BF26-48DF-9431-1F0E911D99DD}" dt="2020-08-12T15:23:33.637" v="111" actId="2696"/>
          <pc:sldLayoutMkLst>
            <pc:docMk/>
            <pc:sldMasterMk cId="993860654" sldId="2147483660"/>
            <pc:sldLayoutMk cId="50882754" sldId="2147483677"/>
          </pc:sldLayoutMkLst>
        </pc:sldLayoutChg>
        <pc:sldLayoutChg chg="del">
          <pc:chgData name="Timo Gossen" userId="4ec7f864-84f7-407f-b8f9-5c31d0de0089" providerId="ADAL" clId="{571CDA5C-BF26-48DF-9431-1F0E911D99DD}" dt="2020-08-12T15:23:34.359" v="112" actId="2696"/>
          <pc:sldLayoutMkLst>
            <pc:docMk/>
            <pc:sldMasterMk cId="993860654" sldId="2147483660"/>
            <pc:sldLayoutMk cId="3283746358" sldId="2147483678"/>
          </pc:sldLayoutMkLst>
        </pc:sldLayoutChg>
        <pc:sldLayoutChg chg="modSp">
          <pc:chgData name="Timo Gossen" userId="4ec7f864-84f7-407f-b8f9-5c31d0de0089" providerId="ADAL" clId="{571CDA5C-BF26-48DF-9431-1F0E911D99DD}" dt="2020-08-12T15:22:38.905" v="95" actId="20577"/>
          <pc:sldLayoutMkLst>
            <pc:docMk/>
            <pc:sldMasterMk cId="993860654" sldId="2147483660"/>
            <pc:sldLayoutMk cId="3241177136" sldId="2147483686"/>
          </pc:sldLayoutMkLst>
          <pc:spChg chg="mod">
            <ac:chgData name="Timo Gossen" userId="4ec7f864-84f7-407f-b8f9-5c31d0de0089" providerId="ADAL" clId="{571CDA5C-BF26-48DF-9431-1F0E911D99DD}" dt="2020-08-12T15:22:38.905" v="95" actId="20577"/>
            <ac:spMkLst>
              <pc:docMk/>
              <pc:sldMasterMk cId="993860654" sldId="2147483660"/>
              <pc:sldLayoutMk cId="3241177136" sldId="2147483686"/>
              <ac:spMk id="2" creationId="{00000000-0000-0000-0000-000000000000}"/>
            </ac:spMkLst>
          </pc:spChg>
        </pc:sldLayoutChg>
        <pc:sldLayoutChg chg="del">
          <pc:chgData name="Timo Gossen" userId="4ec7f864-84f7-407f-b8f9-5c31d0de0089" providerId="ADAL" clId="{571CDA5C-BF26-48DF-9431-1F0E911D99DD}" dt="2020-08-12T15:23:01.083" v="97" actId="2696"/>
          <pc:sldLayoutMkLst>
            <pc:docMk/>
            <pc:sldMasterMk cId="993860654" sldId="2147483660"/>
            <pc:sldLayoutMk cId="4267210508" sldId="2147483689"/>
          </pc:sldLayoutMkLst>
        </pc:sldLayoutChg>
        <pc:sldLayoutChg chg="del">
          <pc:chgData name="Timo Gossen" userId="4ec7f864-84f7-407f-b8f9-5c31d0de0089" providerId="ADAL" clId="{571CDA5C-BF26-48DF-9431-1F0E911D99DD}" dt="2020-08-12T15:22:32.100" v="80" actId="2696"/>
          <pc:sldLayoutMkLst>
            <pc:docMk/>
            <pc:sldMasterMk cId="993860654" sldId="2147483660"/>
            <pc:sldLayoutMk cId="1426395456" sldId="2147483690"/>
          </pc:sldLayoutMkLst>
        </pc:sldLayoutChg>
        <pc:sldLayoutChg chg="del">
          <pc:chgData name="Timo Gossen" userId="4ec7f864-84f7-407f-b8f9-5c31d0de0089" providerId="ADAL" clId="{571CDA5C-BF26-48DF-9431-1F0E911D99DD}" dt="2020-08-12T15:22:32.103" v="81" actId="2696"/>
          <pc:sldLayoutMkLst>
            <pc:docMk/>
            <pc:sldMasterMk cId="993860654" sldId="2147483660"/>
            <pc:sldLayoutMk cId="2178020663" sldId="2147483691"/>
          </pc:sldLayoutMkLst>
        </pc:sldLayoutChg>
        <pc:sldLayoutChg chg="del">
          <pc:chgData name="Timo Gossen" userId="4ec7f864-84f7-407f-b8f9-5c31d0de0089" providerId="ADAL" clId="{571CDA5C-BF26-48DF-9431-1F0E911D99DD}" dt="2020-08-12T15:22:32.105" v="82" actId="2696"/>
          <pc:sldLayoutMkLst>
            <pc:docMk/>
            <pc:sldMasterMk cId="993860654" sldId="2147483660"/>
            <pc:sldLayoutMk cId="1399756346" sldId="2147483692"/>
          </pc:sldLayoutMkLst>
        </pc:sldLayoutChg>
        <pc:sldLayoutChg chg="del">
          <pc:chgData name="Timo Gossen" userId="4ec7f864-84f7-407f-b8f9-5c31d0de0089" providerId="ADAL" clId="{571CDA5C-BF26-48DF-9431-1F0E911D99DD}" dt="2020-08-12T15:22:32.107" v="83" actId="2696"/>
          <pc:sldLayoutMkLst>
            <pc:docMk/>
            <pc:sldMasterMk cId="993860654" sldId="2147483660"/>
            <pc:sldLayoutMk cId="238293821" sldId="2147483693"/>
          </pc:sldLayoutMkLst>
        </pc:sldLayoutChg>
        <pc:sldLayoutChg chg="del">
          <pc:chgData name="Timo Gossen" userId="4ec7f864-84f7-407f-b8f9-5c31d0de0089" providerId="ADAL" clId="{571CDA5C-BF26-48DF-9431-1F0E911D99DD}" dt="2020-08-12T15:22:32.110" v="84" actId="2696"/>
          <pc:sldLayoutMkLst>
            <pc:docMk/>
            <pc:sldMasterMk cId="993860654" sldId="2147483660"/>
            <pc:sldLayoutMk cId="3127536440" sldId="2147483694"/>
          </pc:sldLayoutMkLst>
        </pc:sldLayoutChg>
        <pc:sldLayoutChg chg="del">
          <pc:chgData name="Timo Gossen" userId="4ec7f864-84f7-407f-b8f9-5c31d0de0089" providerId="ADAL" clId="{571CDA5C-BF26-48DF-9431-1F0E911D99DD}" dt="2020-08-12T15:22:32.082" v="79" actId="2696"/>
          <pc:sldLayoutMkLst>
            <pc:docMk/>
            <pc:sldMasterMk cId="993860654" sldId="2147483660"/>
            <pc:sldLayoutMk cId="1155441782" sldId="2147483695"/>
          </pc:sldLayoutMkLst>
        </pc:sldLayoutChg>
        <pc:sldLayoutChg chg="addSp delSp modSp mod ord">
          <pc:chgData name="Timo Gossen" userId="4ec7f864-84f7-407f-b8f9-5c31d0de0089" providerId="ADAL" clId="{571CDA5C-BF26-48DF-9431-1F0E911D99DD}" dt="2020-08-12T15:31:50.671" v="254" actId="20578"/>
          <pc:sldLayoutMkLst>
            <pc:docMk/>
            <pc:sldMasterMk cId="993860654" sldId="2147483660"/>
            <pc:sldLayoutMk cId="3523634492" sldId="2147483696"/>
          </pc:sldLayoutMkLst>
          <pc:spChg chg="add del">
            <ac:chgData name="Timo Gossen" userId="4ec7f864-84f7-407f-b8f9-5c31d0de0089" providerId="ADAL" clId="{571CDA5C-BF26-48DF-9431-1F0E911D99DD}" dt="2020-08-12T15:24:15.457" v="115" actId="11529"/>
            <ac:spMkLst>
              <pc:docMk/>
              <pc:sldMasterMk cId="993860654" sldId="2147483660"/>
              <pc:sldLayoutMk cId="3523634492" sldId="2147483696"/>
              <ac:spMk id="2" creationId="{CA80D713-A237-4B91-931C-3F8C29069C71}"/>
            </ac:spMkLst>
          </pc:spChg>
          <pc:spChg chg="del mod">
            <ac:chgData name="Timo Gossen" userId="4ec7f864-84f7-407f-b8f9-5c31d0de0089" providerId="ADAL" clId="{571CDA5C-BF26-48DF-9431-1F0E911D99DD}" dt="2020-08-12T15:22:27.026" v="78" actId="478"/>
            <ac:spMkLst>
              <pc:docMk/>
              <pc:sldMasterMk cId="993860654" sldId="2147483660"/>
              <pc:sldLayoutMk cId="3523634492" sldId="2147483696"/>
              <ac:spMk id="3" creationId="{00000000-0000-0000-0000-000000000000}"/>
            </ac:spMkLst>
          </pc:spChg>
          <pc:spChg chg="add del mod">
            <ac:chgData name="Timo Gossen" userId="4ec7f864-84f7-407f-b8f9-5c31d0de0089" providerId="ADAL" clId="{571CDA5C-BF26-48DF-9431-1F0E911D99DD}" dt="2020-08-12T15:30:58.393" v="251" actId="20577"/>
            <ac:spMkLst>
              <pc:docMk/>
              <pc:sldMasterMk cId="993860654" sldId="2147483660"/>
              <pc:sldLayoutMk cId="3523634492" sldId="2147483696"/>
              <ac:spMk id="4" creationId="{C2C1733E-B422-45C8-8755-B39BEA08850B}"/>
            </ac:spMkLst>
          </pc:spChg>
          <pc:spChg chg="del">
            <ac:chgData name="Timo Gossen" userId="4ec7f864-84f7-407f-b8f9-5c31d0de0089" providerId="ADAL" clId="{571CDA5C-BF26-48DF-9431-1F0E911D99DD}" dt="2020-08-12T15:22:21.549" v="76" actId="478"/>
            <ac:spMkLst>
              <pc:docMk/>
              <pc:sldMasterMk cId="993860654" sldId="2147483660"/>
              <pc:sldLayoutMk cId="3523634492" sldId="2147483696"/>
              <ac:spMk id="5" creationId="{00000000-0000-0000-0000-000000000000}"/>
            </ac:spMkLst>
          </pc:spChg>
          <pc:spChg chg="del mod topLvl">
            <ac:chgData name="Timo Gossen" userId="4ec7f864-84f7-407f-b8f9-5c31d0de0089" providerId="ADAL" clId="{571CDA5C-BF26-48DF-9431-1F0E911D99DD}" dt="2020-08-12T15:24:35.984" v="117" actId="21"/>
            <ac:spMkLst>
              <pc:docMk/>
              <pc:sldMasterMk cId="993860654" sldId="2147483660"/>
              <pc:sldLayoutMk cId="3523634492" sldId="2147483696"/>
              <ac:spMk id="7" creationId="{61A6580C-649F-4C62-B0B8-D4CA31C05BF3}"/>
            </ac:spMkLst>
          </pc:spChg>
          <pc:spChg chg="mod">
            <ac:chgData name="Timo Gossen" userId="4ec7f864-84f7-407f-b8f9-5c31d0de0089" providerId="ADAL" clId="{571CDA5C-BF26-48DF-9431-1F0E911D99DD}" dt="2020-08-12T15:22:16.180" v="75"/>
            <ac:spMkLst>
              <pc:docMk/>
              <pc:sldMasterMk cId="993860654" sldId="2147483660"/>
              <pc:sldLayoutMk cId="3523634492" sldId="2147483696"/>
              <ac:spMk id="9" creationId="{B0835B06-2B3C-4CBA-8C30-D2BA7BF6443E}"/>
            </ac:spMkLst>
          </pc:spChg>
          <pc:spChg chg="mod">
            <ac:chgData name="Timo Gossen" userId="4ec7f864-84f7-407f-b8f9-5c31d0de0089" providerId="ADAL" clId="{571CDA5C-BF26-48DF-9431-1F0E911D99DD}" dt="2020-08-12T15:22:16.180" v="75"/>
            <ac:spMkLst>
              <pc:docMk/>
              <pc:sldMasterMk cId="993860654" sldId="2147483660"/>
              <pc:sldLayoutMk cId="3523634492" sldId="2147483696"/>
              <ac:spMk id="10" creationId="{70021638-8B44-4082-87EC-45BA11C3277B}"/>
            </ac:spMkLst>
          </pc:spChg>
          <pc:spChg chg="add mod">
            <ac:chgData name="Timo Gossen" userId="4ec7f864-84f7-407f-b8f9-5c31d0de0089" providerId="ADAL" clId="{571CDA5C-BF26-48DF-9431-1F0E911D99DD}" dt="2020-08-12T15:22:16.180" v="75"/>
            <ac:spMkLst>
              <pc:docMk/>
              <pc:sldMasterMk cId="993860654" sldId="2147483660"/>
              <pc:sldLayoutMk cId="3523634492" sldId="2147483696"/>
              <ac:spMk id="11" creationId="{18C2EFA9-917C-4222-9A71-16F8B08FDF2E}"/>
            </ac:spMkLst>
          </pc:spChg>
          <pc:spChg chg="add mod">
            <ac:chgData name="Timo Gossen" userId="4ec7f864-84f7-407f-b8f9-5c31d0de0089" providerId="ADAL" clId="{571CDA5C-BF26-48DF-9431-1F0E911D99DD}" dt="2020-08-12T15:22:16.180" v="75"/>
            <ac:spMkLst>
              <pc:docMk/>
              <pc:sldMasterMk cId="993860654" sldId="2147483660"/>
              <pc:sldLayoutMk cId="3523634492" sldId="2147483696"/>
              <ac:spMk id="12" creationId="{4942C1D3-04C3-475F-BA4B-B00CCB1BE2EE}"/>
            </ac:spMkLst>
          </pc:spChg>
          <pc:spChg chg="add del mod">
            <ac:chgData name="Timo Gossen" userId="4ec7f864-84f7-407f-b8f9-5c31d0de0089" providerId="ADAL" clId="{571CDA5C-BF26-48DF-9431-1F0E911D99DD}" dt="2020-08-12T15:24:19.392" v="116" actId="478"/>
            <ac:spMkLst>
              <pc:docMk/>
              <pc:sldMasterMk cId="993860654" sldId="2147483660"/>
              <pc:sldLayoutMk cId="3523634492" sldId="2147483696"/>
              <ac:spMk id="13" creationId="{88E0CACD-5B41-49B2-A487-34C52A4BFB7A}"/>
            </ac:spMkLst>
          </pc:spChg>
          <pc:spChg chg="add del">
            <ac:chgData name="Timo Gossen" userId="4ec7f864-84f7-407f-b8f9-5c31d0de0089" providerId="ADAL" clId="{571CDA5C-BF26-48DF-9431-1F0E911D99DD}" dt="2020-08-12T15:24:39.887" v="118" actId="11529"/>
            <ac:spMkLst>
              <pc:docMk/>
              <pc:sldMasterMk cId="993860654" sldId="2147483660"/>
              <pc:sldLayoutMk cId="3523634492" sldId="2147483696"/>
              <ac:spMk id="14" creationId="{676CB7B6-BAEA-4043-8178-875818367127}"/>
            </ac:spMkLst>
          </pc:spChg>
          <pc:spChg chg="add del mod">
            <ac:chgData name="Timo Gossen" userId="4ec7f864-84f7-407f-b8f9-5c31d0de0089" providerId="ADAL" clId="{571CDA5C-BF26-48DF-9431-1F0E911D99DD}" dt="2020-08-12T15:25:43.976" v="180" actId="478"/>
            <ac:spMkLst>
              <pc:docMk/>
              <pc:sldMasterMk cId="993860654" sldId="2147483660"/>
              <pc:sldLayoutMk cId="3523634492" sldId="2147483696"/>
              <ac:spMk id="15" creationId="{2FEA733D-30B0-424D-8DF2-8A396F5B0BFB}"/>
            </ac:spMkLst>
          </pc:spChg>
          <pc:spChg chg="add del mod">
            <ac:chgData name="Timo Gossen" userId="4ec7f864-84f7-407f-b8f9-5c31d0de0089" providerId="ADAL" clId="{571CDA5C-BF26-48DF-9431-1F0E911D99DD}" dt="2020-08-12T15:29:27.480" v="228" actId="478"/>
            <ac:spMkLst>
              <pc:docMk/>
              <pc:sldMasterMk cId="993860654" sldId="2147483660"/>
              <pc:sldLayoutMk cId="3523634492" sldId="2147483696"/>
              <ac:spMk id="17" creationId="{BAC0648D-E18D-46AB-8AB1-D4C07861C899}"/>
            </ac:spMkLst>
          </pc:spChg>
          <pc:spChg chg="add del">
            <ac:chgData name="Timo Gossen" userId="4ec7f864-84f7-407f-b8f9-5c31d0de0089" providerId="ADAL" clId="{571CDA5C-BF26-48DF-9431-1F0E911D99DD}" dt="2020-08-12T15:27:01.960" v="184" actId="11529"/>
            <ac:spMkLst>
              <pc:docMk/>
              <pc:sldMasterMk cId="993860654" sldId="2147483660"/>
              <pc:sldLayoutMk cId="3523634492" sldId="2147483696"/>
              <ac:spMk id="18" creationId="{C4CE5565-2EC6-4188-91E0-DFB04519A6FA}"/>
            </ac:spMkLst>
          </pc:spChg>
          <pc:spChg chg="add del mod ord">
            <ac:chgData name="Timo Gossen" userId="4ec7f864-84f7-407f-b8f9-5c31d0de0089" providerId="ADAL" clId="{571CDA5C-BF26-48DF-9431-1F0E911D99DD}" dt="2020-08-12T15:31:11.063" v="252" actId="13926"/>
            <ac:spMkLst>
              <pc:docMk/>
              <pc:sldMasterMk cId="993860654" sldId="2147483660"/>
              <pc:sldLayoutMk cId="3523634492" sldId="2147483696"/>
              <ac:spMk id="19" creationId="{9860598F-5489-4F0B-B9DA-B1DC8ECA311B}"/>
            </ac:spMkLst>
          </pc:spChg>
          <pc:grpChg chg="add del mod">
            <ac:chgData name="Timo Gossen" userId="4ec7f864-84f7-407f-b8f9-5c31d0de0089" providerId="ADAL" clId="{571CDA5C-BF26-48DF-9431-1F0E911D99DD}" dt="2020-08-12T15:24:35.984" v="117" actId="21"/>
            <ac:grpSpMkLst>
              <pc:docMk/>
              <pc:sldMasterMk cId="993860654" sldId="2147483660"/>
              <pc:sldLayoutMk cId="3523634492" sldId="2147483696"/>
              <ac:grpSpMk id="6" creationId="{6454C569-C075-4ABB-8225-AB5BAE13DDD8}"/>
            </ac:grpSpMkLst>
          </pc:grpChg>
          <pc:grpChg chg="mod topLvl">
            <ac:chgData name="Timo Gossen" userId="4ec7f864-84f7-407f-b8f9-5c31d0de0089" providerId="ADAL" clId="{571CDA5C-BF26-48DF-9431-1F0E911D99DD}" dt="2020-08-12T15:24:35.984" v="117" actId="21"/>
            <ac:grpSpMkLst>
              <pc:docMk/>
              <pc:sldMasterMk cId="993860654" sldId="2147483660"/>
              <pc:sldLayoutMk cId="3523634492" sldId="2147483696"/>
              <ac:grpSpMk id="8" creationId="{E38D5D52-C2AC-4D22-8669-793E54461611}"/>
            </ac:grpSpMkLst>
          </pc:grpChg>
        </pc:sldLayoutChg>
        <pc:sldLayoutChg chg="del">
          <pc:chgData name="Timo Gossen" userId="4ec7f864-84f7-407f-b8f9-5c31d0de0089" providerId="ADAL" clId="{571CDA5C-BF26-48DF-9431-1F0E911D99DD}" dt="2020-08-12T15:23:03.945" v="98" actId="2696"/>
          <pc:sldLayoutMkLst>
            <pc:docMk/>
            <pc:sldMasterMk cId="993860654" sldId="2147483660"/>
            <pc:sldLayoutMk cId="3956103704" sldId="2147483697"/>
          </pc:sldLayoutMkLst>
        </pc:sldLayoutChg>
        <pc:sldLayoutChg chg="del">
          <pc:chgData name="Timo Gossen" userId="4ec7f864-84f7-407f-b8f9-5c31d0de0089" providerId="ADAL" clId="{571CDA5C-BF26-48DF-9431-1F0E911D99DD}" dt="2020-08-12T15:23:04.650" v="99" actId="2696"/>
          <pc:sldLayoutMkLst>
            <pc:docMk/>
            <pc:sldMasterMk cId="993860654" sldId="2147483660"/>
            <pc:sldLayoutMk cId="2656004259" sldId="2147483698"/>
          </pc:sldLayoutMkLst>
        </pc:sldLayoutChg>
        <pc:sldLayoutChg chg="del">
          <pc:chgData name="Timo Gossen" userId="4ec7f864-84f7-407f-b8f9-5c31d0de0089" providerId="ADAL" clId="{571CDA5C-BF26-48DF-9431-1F0E911D99DD}" dt="2020-08-12T15:23:05.511" v="100" actId="2696"/>
          <pc:sldLayoutMkLst>
            <pc:docMk/>
            <pc:sldMasterMk cId="993860654" sldId="2147483660"/>
            <pc:sldLayoutMk cId="554454976" sldId="2147483699"/>
          </pc:sldLayoutMkLst>
        </pc:sldLayoutChg>
        <pc:sldLayoutChg chg="del">
          <pc:chgData name="Timo Gossen" userId="4ec7f864-84f7-407f-b8f9-5c31d0de0089" providerId="ADAL" clId="{571CDA5C-BF26-48DF-9431-1F0E911D99DD}" dt="2020-08-12T15:23:05.792" v="101" actId="2696"/>
          <pc:sldLayoutMkLst>
            <pc:docMk/>
            <pc:sldMasterMk cId="993860654" sldId="2147483660"/>
            <pc:sldLayoutMk cId="4027906882" sldId="2147483700"/>
          </pc:sldLayoutMkLst>
        </pc:sldLayoutChg>
        <pc:sldLayoutChg chg="del">
          <pc:chgData name="Timo Gossen" userId="4ec7f864-84f7-407f-b8f9-5c31d0de0089" providerId="ADAL" clId="{571CDA5C-BF26-48DF-9431-1F0E911D99DD}" dt="2020-08-12T15:23:06.160" v="102" actId="2696"/>
          <pc:sldLayoutMkLst>
            <pc:docMk/>
            <pc:sldMasterMk cId="993860654" sldId="2147483660"/>
            <pc:sldLayoutMk cId="1599121603" sldId="2147483701"/>
          </pc:sldLayoutMkLst>
        </pc:sldLayoutChg>
        <pc:sldLayoutChg chg="del">
          <pc:chgData name="Timo Gossen" userId="4ec7f864-84f7-407f-b8f9-5c31d0de0089" providerId="ADAL" clId="{571CDA5C-BF26-48DF-9431-1F0E911D99DD}" dt="2020-08-12T15:23:08.311" v="103" actId="2696"/>
          <pc:sldLayoutMkLst>
            <pc:docMk/>
            <pc:sldMasterMk cId="993860654" sldId="2147483660"/>
            <pc:sldLayoutMk cId="279833410" sldId="2147483704"/>
          </pc:sldLayoutMkLst>
        </pc:sldLayoutChg>
        <pc:sldLayoutChg chg="new del mod ord">
          <pc:chgData name="Timo Gossen" userId="4ec7f864-84f7-407f-b8f9-5c31d0de0089" providerId="ADAL" clId="{571CDA5C-BF26-48DF-9431-1F0E911D99DD}" dt="2020-08-12T15:26:47.350" v="183" actId="2696"/>
          <pc:sldLayoutMkLst>
            <pc:docMk/>
            <pc:sldMasterMk cId="993860654" sldId="2147483660"/>
            <pc:sldLayoutMk cId="3490642278" sldId="2147483707"/>
          </pc:sldLayoutMkLst>
        </pc:sldLayoutChg>
      </pc:sldMasterChg>
      <pc:sldMasterChg chg="new del mod addSldLayout delSldLayout">
        <pc:chgData name="Timo Gossen" userId="4ec7f864-84f7-407f-b8f9-5c31d0de0089" providerId="ADAL" clId="{571CDA5C-BF26-48DF-9431-1F0E911D99DD}" dt="2020-08-12T15:21:51.712" v="72" actId="2696"/>
        <pc:sldMasterMkLst>
          <pc:docMk/>
          <pc:sldMasterMk cId="672255735" sldId="2147483707"/>
        </pc:sldMasterMkLst>
        <pc:sldLayoutChg chg="new del replId">
          <pc:chgData name="Timo Gossen" userId="4ec7f864-84f7-407f-b8f9-5c31d0de0089" providerId="ADAL" clId="{571CDA5C-BF26-48DF-9431-1F0E911D99DD}" dt="2020-08-12T15:21:51.690" v="61" actId="2696"/>
          <pc:sldLayoutMkLst>
            <pc:docMk/>
            <pc:sldMasterMk cId="672255735" sldId="2147483707"/>
            <pc:sldLayoutMk cId="4276216879" sldId="2147483708"/>
          </pc:sldLayoutMkLst>
        </pc:sldLayoutChg>
        <pc:sldLayoutChg chg="new del replId">
          <pc:chgData name="Timo Gossen" userId="4ec7f864-84f7-407f-b8f9-5c31d0de0089" providerId="ADAL" clId="{571CDA5C-BF26-48DF-9431-1F0E911D99DD}" dt="2020-08-12T15:21:51.692" v="62" actId="2696"/>
          <pc:sldLayoutMkLst>
            <pc:docMk/>
            <pc:sldMasterMk cId="672255735" sldId="2147483707"/>
            <pc:sldLayoutMk cId="1349603003" sldId="2147483709"/>
          </pc:sldLayoutMkLst>
        </pc:sldLayoutChg>
        <pc:sldLayoutChg chg="new del replId">
          <pc:chgData name="Timo Gossen" userId="4ec7f864-84f7-407f-b8f9-5c31d0de0089" providerId="ADAL" clId="{571CDA5C-BF26-48DF-9431-1F0E911D99DD}" dt="2020-08-12T15:21:51.694" v="63" actId="2696"/>
          <pc:sldLayoutMkLst>
            <pc:docMk/>
            <pc:sldMasterMk cId="672255735" sldId="2147483707"/>
            <pc:sldLayoutMk cId="3393106969" sldId="2147483710"/>
          </pc:sldLayoutMkLst>
        </pc:sldLayoutChg>
        <pc:sldLayoutChg chg="new del replId">
          <pc:chgData name="Timo Gossen" userId="4ec7f864-84f7-407f-b8f9-5c31d0de0089" providerId="ADAL" clId="{571CDA5C-BF26-48DF-9431-1F0E911D99DD}" dt="2020-08-12T15:21:51.696" v="64" actId="2696"/>
          <pc:sldLayoutMkLst>
            <pc:docMk/>
            <pc:sldMasterMk cId="672255735" sldId="2147483707"/>
            <pc:sldLayoutMk cId="2991601908" sldId="2147483711"/>
          </pc:sldLayoutMkLst>
        </pc:sldLayoutChg>
        <pc:sldLayoutChg chg="new del replId">
          <pc:chgData name="Timo Gossen" userId="4ec7f864-84f7-407f-b8f9-5c31d0de0089" providerId="ADAL" clId="{571CDA5C-BF26-48DF-9431-1F0E911D99DD}" dt="2020-08-12T15:21:51.699" v="65" actId="2696"/>
          <pc:sldLayoutMkLst>
            <pc:docMk/>
            <pc:sldMasterMk cId="672255735" sldId="2147483707"/>
            <pc:sldLayoutMk cId="3787427270" sldId="2147483712"/>
          </pc:sldLayoutMkLst>
        </pc:sldLayoutChg>
        <pc:sldLayoutChg chg="new del replId">
          <pc:chgData name="Timo Gossen" userId="4ec7f864-84f7-407f-b8f9-5c31d0de0089" providerId="ADAL" clId="{571CDA5C-BF26-48DF-9431-1F0E911D99DD}" dt="2020-08-12T15:21:51.700" v="66" actId="2696"/>
          <pc:sldLayoutMkLst>
            <pc:docMk/>
            <pc:sldMasterMk cId="672255735" sldId="2147483707"/>
            <pc:sldLayoutMk cId="11945827" sldId="2147483713"/>
          </pc:sldLayoutMkLst>
        </pc:sldLayoutChg>
        <pc:sldLayoutChg chg="new del replId">
          <pc:chgData name="Timo Gossen" userId="4ec7f864-84f7-407f-b8f9-5c31d0de0089" providerId="ADAL" clId="{571CDA5C-BF26-48DF-9431-1F0E911D99DD}" dt="2020-08-12T15:21:51.702" v="67" actId="2696"/>
          <pc:sldLayoutMkLst>
            <pc:docMk/>
            <pc:sldMasterMk cId="672255735" sldId="2147483707"/>
            <pc:sldLayoutMk cId="3921387822" sldId="2147483714"/>
          </pc:sldLayoutMkLst>
        </pc:sldLayoutChg>
        <pc:sldLayoutChg chg="new del replId">
          <pc:chgData name="Timo Gossen" userId="4ec7f864-84f7-407f-b8f9-5c31d0de0089" providerId="ADAL" clId="{571CDA5C-BF26-48DF-9431-1F0E911D99DD}" dt="2020-08-12T15:21:51.705" v="68" actId="2696"/>
          <pc:sldLayoutMkLst>
            <pc:docMk/>
            <pc:sldMasterMk cId="672255735" sldId="2147483707"/>
            <pc:sldLayoutMk cId="454524763" sldId="2147483715"/>
          </pc:sldLayoutMkLst>
        </pc:sldLayoutChg>
        <pc:sldLayoutChg chg="new del replId">
          <pc:chgData name="Timo Gossen" userId="4ec7f864-84f7-407f-b8f9-5c31d0de0089" providerId="ADAL" clId="{571CDA5C-BF26-48DF-9431-1F0E911D99DD}" dt="2020-08-12T15:21:51.706" v="69" actId="2696"/>
          <pc:sldLayoutMkLst>
            <pc:docMk/>
            <pc:sldMasterMk cId="672255735" sldId="2147483707"/>
            <pc:sldLayoutMk cId="3265822601" sldId="2147483716"/>
          </pc:sldLayoutMkLst>
        </pc:sldLayoutChg>
        <pc:sldLayoutChg chg="new del replId">
          <pc:chgData name="Timo Gossen" userId="4ec7f864-84f7-407f-b8f9-5c31d0de0089" providerId="ADAL" clId="{571CDA5C-BF26-48DF-9431-1F0E911D99DD}" dt="2020-08-12T15:21:51.708" v="70" actId="2696"/>
          <pc:sldLayoutMkLst>
            <pc:docMk/>
            <pc:sldMasterMk cId="672255735" sldId="2147483707"/>
            <pc:sldLayoutMk cId="788669642" sldId="2147483717"/>
          </pc:sldLayoutMkLst>
        </pc:sldLayoutChg>
        <pc:sldLayoutChg chg="new del replId">
          <pc:chgData name="Timo Gossen" userId="4ec7f864-84f7-407f-b8f9-5c31d0de0089" providerId="ADAL" clId="{571CDA5C-BF26-48DF-9431-1F0E911D99DD}" dt="2020-08-12T15:21:51.710" v="71" actId="2696"/>
          <pc:sldLayoutMkLst>
            <pc:docMk/>
            <pc:sldMasterMk cId="672255735" sldId="2147483707"/>
            <pc:sldLayoutMk cId="638469793" sldId="2147483718"/>
          </pc:sldLayoutMkLst>
        </pc:sldLayoutChg>
      </pc:sldMasterChg>
      <pc:sldMasterChg chg="modSldLayout">
        <pc:chgData name="Timo Gossen" userId="4ec7f864-84f7-407f-b8f9-5c31d0de0089" providerId="ADAL" clId="{571CDA5C-BF26-48DF-9431-1F0E911D99DD}" dt="2020-08-12T15:19:28.305" v="0"/>
        <pc:sldMasterMkLst>
          <pc:docMk/>
          <pc:sldMasterMk cId="3227279366" sldId="2147483707"/>
        </pc:sldMasterMkLst>
        <pc:sldLayoutChg chg="setBg">
          <pc:chgData name="Timo Gossen" userId="4ec7f864-84f7-407f-b8f9-5c31d0de0089" providerId="ADAL" clId="{571CDA5C-BF26-48DF-9431-1F0E911D99DD}" dt="2020-08-12T15:19:28.305" v="0"/>
          <pc:sldLayoutMkLst>
            <pc:docMk/>
            <pc:sldMasterMk cId="3227279366" sldId="2147483707"/>
            <pc:sldLayoutMk cId="1903115332" sldId="2147483708"/>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2066541330" sldId="2147483709"/>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235828753" sldId="2147483710"/>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999989743" sldId="2147483711"/>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497068662" sldId="2147483712"/>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053880271" sldId="2147483725"/>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303052394" sldId="2147483726"/>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605532167" sldId="2147483727"/>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085849555" sldId="2147483728"/>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752453106" sldId="2147483729"/>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4137661561" sldId="2147483731"/>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374428911" sldId="2147483732"/>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202967815" sldId="2147483733"/>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223326424" sldId="2147483734"/>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678763624" sldId="2147483735"/>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4229842488" sldId="2147483736"/>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4112591810" sldId="2147483741"/>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2676078790" sldId="2147483746"/>
          </pc:sldLayoutMkLst>
        </pc:sldLayoutChg>
      </pc:sldMasterChg>
      <pc:sldMasterChg chg="del delSldLayout modSldLayout">
        <pc:chgData name="Timo Gossen" userId="4ec7f864-84f7-407f-b8f9-5c31d0de0089" providerId="ADAL" clId="{571CDA5C-BF26-48DF-9431-1F0E911D99DD}" dt="2020-08-12T15:21:53.951" v="73" actId="2696"/>
        <pc:sldMasterMkLst>
          <pc:docMk/>
          <pc:sldMasterMk cId="417213329" sldId="2147483719"/>
        </pc:sldMasterMkLst>
        <pc:sldLayoutChg chg="del setBg">
          <pc:chgData name="Timo Gossen" userId="4ec7f864-84f7-407f-b8f9-5c31d0de0089" providerId="ADAL" clId="{571CDA5C-BF26-48DF-9431-1F0E911D99DD}" dt="2020-08-12T15:21:45.897" v="60" actId="2696"/>
          <pc:sldLayoutMkLst>
            <pc:docMk/>
            <pc:sldMasterMk cId="417213329" sldId="2147483719"/>
            <pc:sldLayoutMk cId="2253939410" sldId="2147483720"/>
          </pc:sldLayoutMkLst>
        </pc:sldLayoutChg>
        <pc:sldLayoutChg chg="del setBg">
          <pc:chgData name="Timo Gossen" userId="4ec7f864-84f7-407f-b8f9-5c31d0de0089" providerId="ADAL" clId="{571CDA5C-BF26-48DF-9431-1F0E911D99DD}" dt="2020-08-12T15:21:45.871" v="59" actId="2696"/>
          <pc:sldLayoutMkLst>
            <pc:docMk/>
            <pc:sldMasterMk cId="417213329" sldId="2147483719"/>
            <pc:sldLayoutMk cId="2320754295" sldId="2147483721"/>
          </pc:sldLayoutMkLst>
        </pc:sldLayoutChg>
        <pc:sldLayoutChg chg="del setBg">
          <pc:chgData name="Timo Gossen" userId="4ec7f864-84f7-407f-b8f9-5c31d0de0089" providerId="ADAL" clId="{571CDA5C-BF26-48DF-9431-1F0E911D99DD}" dt="2020-08-12T15:21:45.840" v="58" actId="2696"/>
          <pc:sldLayoutMkLst>
            <pc:docMk/>
            <pc:sldMasterMk cId="417213329" sldId="2147483719"/>
            <pc:sldLayoutMk cId="1577040670" sldId="2147483722"/>
          </pc:sldLayoutMkLst>
        </pc:sldLayoutChg>
        <pc:sldLayoutChg chg="del setBg">
          <pc:chgData name="Timo Gossen" userId="4ec7f864-84f7-407f-b8f9-5c31d0de0089" providerId="ADAL" clId="{571CDA5C-BF26-48DF-9431-1F0E911D99DD}" dt="2020-08-12T15:21:45.798" v="57" actId="2696"/>
          <pc:sldLayoutMkLst>
            <pc:docMk/>
            <pc:sldMasterMk cId="417213329" sldId="2147483719"/>
            <pc:sldLayoutMk cId="3550714484" sldId="2147483723"/>
          </pc:sldLayoutMkLst>
        </pc:sldLayoutChg>
        <pc:sldLayoutChg chg="del setBg">
          <pc:chgData name="Timo Gossen" userId="4ec7f864-84f7-407f-b8f9-5c31d0de0089" providerId="ADAL" clId="{571CDA5C-BF26-48DF-9431-1F0E911D99DD}" dt="2020-08-12T15:21:45.773" v="56" actId="2696"/>
          <pc:sldLayoutMkLst>
            <pc:docMk/>
            <pc:sldMasterMk cId="417213329" sldId="2147483719"/>
            <pc:sldLayoutMk cId="1291704739" sldId="2147483724"/>
          </pc:sldLayoutMkLst>
        </pc:sldLayoutChg>
        <pc:sldLayoutChg chg="del">
          <pc:chgData name="Timo Gossen" userId="4ec7f864-84f7-407f-b8f9-5c31d0de0089" providerId="ADAL" clId="{571CDA5C-BF26-48DF-9431-1F0E911D99DD}" dt="2020-08-12T15:21:45.751" v="55" actId="2696"/>
          <pc:sldLayoutMkLst>
            <pc:docMk/>
            <pc:sldMasterMk cId="417213329" sldId="2147483719"/>
            <pc:sldLayoutMk cId="280399669" sldId="2147483725"/>
          </pc:sldLayoutMkLst>
        </pc:sldLayoutChg>
        <pc:sldLayoutChg chg="del">
          <pc:chgData name="Timo Gossen" userId="4ec7f864-84f7-407f-b8f9-5c31d0de0089" providerId="ADAL" clId="{571CDA5C-BF26-48DF-9431-1F0E911D99DD}" dt="2020-08-12T15:21:45.715" v="54" actId="2696"/>
          <pc:sldLayoutMkLst>
            <pc:docMk/>
            <pc:sldMasterMk cId="417213329" sldId="2147483719"/>
            <pc:sldLayoutMk cId="2883244820" sldId="2147483726"/>
          </pc:sldLayoutMkLst>
        </pc:sldLayoutChg>
        <pc:sldLayoutChg chg="del">
          <pc:chgData name="Timo Gossen" userId="4ec7f864-84f7-407f-b8f9-5c31d0de0089" providerId="ADAL" clId="{571CDA5C-BF26-48DF-9431-1F0E911D99DD}" dt="2020-08-12T15:21:45.679" v="53" actId="2696"/>
          <pc:sldLayoutMkLst>
            <pc:docMk/>
            <pc:sldMasterMk cId="417213329" sldId="2147483719"/>
            <pc:sldLayoutMk cId="581514326" sldId="2147483727"/>
          </pc:sldLayoutMkLst>
        </pc:sldLayoutChg>
        <pc:sldLayoutChg chg="del">
          <pc:chgData name="Timo Gossen" userId="4ec7f864-84f7-407f-b8f9-5c31d0de0089" providerId="ADAL" clId="{571CDA5C-BF26-48DF-9431-1F0E911D99DD}" dt="2020-08-12T15:21:45.646" v="52" actId="2696"/>
          <pc:sldLayoutMkLst>
            <pc:docMk/>
            <pc:sldMasterMk cId="417213329" sldId="2147483719"/>
            <pc:sldLayoutMk cId="3016969540" sldId="2147483728"/>
          </pc:sldLayoutMkLst>
        </pc:sldLayoutChg>
        <pc:sldLayoutChg chg="del">
          <pc:chgData name="Timo Gossen" userId="4ec7f864-84f7-407f-b8f9-5c31d0de0089" providerId="ADAL" clId="{571CDA5C-BF26-48DF-9431-1F0E911D99DD}" dt="2020-08-12T15:21:45.494" v="51" actId="2696"/>
          <pc:sldLayoutMkLst>
            <pc:docMk/>
            <pc:sldMasterMk cId="417213329" sldId="2147483719"/>
            <pc:sldLayoutMk cId="3453048180" sldId="2147483729"/>
          </pc:sldLayoutMkLst>
        </pc:sldLayoutChg>
        <pc:sldLayoutChg chg="del">
          <pc:chgData name="Timo Gossen" userId="4ec7f864-84f7-407f-b8f9-5c31d0de0089" providerId="ADAL" clId="{571CDA5C-BF26-48DF-9431-1F0E911D99DD}" dt="2020-08-12T15:21:45.471" v="50" actId="2696"/>
          <pc:sldLayoutMkLst>
            <pc:docMk/>
            <pc:sldMasterMk cId="417213329" sldId="2147483719"/>
            <pc:sldLayoutMk cId="3862429674" sldId="2147483730"/>
          </pc:sldLayoutMkLst>
        </pc:sldLayoutChg>
        <pc:sldLayoutChg chg="del">
          <pc:chgData name="Timo Gossen" userId="4ec7f864-84f7-407f-b8f9-5c31d0de0089" providerId="ADAL" clId="{571CDA5C-BF26-48DF-9431-1F0E911D99DD}" dt="2020-08-12T15:21:45.391" v="49" actId="2696"/>
          <pc:sldLayoutMkLst>
            <pc:docMk/>
            <pc:sldMasterMk cId="417213329" sldId="2147483719"/>
            <pc:sldLayoutMk cId="3930934186" sldId="2147483731"/>
          </pc:sldLayoutMkLst>
        </pc:sldLayoutChg>
        <pc:sldLayoutChg chg="del">
          <pc:chgData name="Timo Gossen" userId="4ec7f864-84f7-407f-b8f9-5c31d0de0089" providerId="ADAL" clId="{571CDA5C-BF26-48DF-9431-1F0E911D99DD}" dt="2020-08-12T15:21:45.368" v="48" actId="2696"/>
          <pc:sldLayoutMkLst>
            <pc:docMk/>
            <pc:sldMasterMk cId="417213329" sldId="2147483719"/>
            <pc:sldLayoutMk cId="525636511" sldId="2147483732"/>
          </pc:sldLayoutMkLst>
        </pc:sldLayoutChg>
        <pc:sldLayoutChg chg="del">
          <pc:chgData name="Timo Gossen" userId="4ec7f864-84f7-407f-b8f9-5c31d0de0089" providerId="ADAL" clId="{571CDA5C-BF26-48DF-9431-1F0E911D99DD}" dt="2020-08-12T15:21:45.330" v="47" actId="2696"/>
          <pc:sldLayoutMkLst>
            <pc:docMk/>
            <pc:sldMasterMk cId="417213329" sldId="2147483719"/>
            <pc:sldLayoutMk cId="152440990" sldId="2147483733"/>
          </pc:sldLayoutMkLst>
        </pc:sldLayoutChg>
        <pc:sldLayoutChg chg="del">
          <pc:chgData name="Timo Gossen" userId="4ec7f864-84f7-407f-b8f9-5c31d0de0089" providerId="ADAL" clId="{571CDA5C-BF26-48DF-9431-1F0E911D99DD}" dt="2020-08-12T15:21:45.297" v="46" actId="2696"/>
          <pc:sldLayoutMkLst>
            <pc:docMk/>
            <pc:sldMasterMk cId="417213329" sldId="2147483719"/>
            <pc:sldLayoutMk cId="1493522353" sldId="2147483734"/>
          </pc:sldLayoutMkLst>
        </pc:sldLayoutChg>
        <pc:sldLayoutChg chg="del">
          <pc:chgData name="Timo Gossen" userId="4ec7f864-84f7-407f-b8f9-5c31d0de0089" providerId="ADAL" clId="{571CDA5C-BF26-48DF-9431-1F0E911D99DD}" dt="2020-08-12T15:21:45.273" v="45" actId="2696"/>
          <pc:sldLayoutMkLst>
            <pc:docMk/>
            <pc:sldMasterMk cId="417213329" sldId="2147483719"/>
            <pc:sldLayoutMk cId="3410574287" sldId="2147483735"/>
          </pc:sldLayoutMkLst>
        </pc:sldLayoutChg>
        <pc:sldLayoutChg chg="del">
          <pc:chgData name="Timo Gossen" userId="4ec7f864-84f7-407f-b8f9-5c31d0de0089" providerId="ADAL" clId="{571CDA5C-BF26-48DF-9431-1F0E911D99DD}" dt="2020-08-12T15:21:45.252" v="44" actId="2696"/>
          <pc:sldLayoutMkLst>
            <pc:docMk/>
            <pc:sldMasterMk cId="417213329" sldId="2147483719"/>
            <pc:sldLayoutMk cId="3913112963" sldId="2147483736"/>
          </pc:sldLayoutMkLst>
        </pc:sldLayoutChg>
        <pc:sldLayoutChg chg="del setBg">
          <pc:chgData name="Timo Gossen" userId="4ec7f864-84f7-407f-b8f9-5c31d0de0089" providerId="ADAL" clId="{571CDA5C-BF26-48DF-9431-1F0E911D99DD}" dt="2020-08-12T15:21:45.205" v="43" actId="2696"/>
          <pc:sldLayoutMkLst>
            <pc:docMk/>
            <pc:sldMasterMk cId="417213329" sldId="2147483719"/>
            <pc:sldLayoutMk cId="3438819144" sldId="2147483737"/>
          </pc:sldLayoutMkLst>
        </pc:sldLayoutChg>
        <pc:sldLayoutChg chg="del setBg">
          <pc:chgData name="Timo Gossen" userId="4ec7f864-84f7-407f-b8f9-5c31d0de0089" providerId="ADAL" clId="{571CDA5C-BF26-48DF-9431-1F0E911D99DD}" dt="2020-08-12T15:21:45.181" v="42" actId="2696"/>
          <pc:sldLayoutMkLst>
            <pc:docMk/>
            <pc:sldMasterMk cId="417213329" sldId="2147483719"/>
            <pc:sldLayoutMk cId="2946335436" sldId="2147483738"/>
          </pc:sldLayoutMkLst>
        </pc:sldLayoutChg>
        <pc:sldLayoutChg chg="del setBg">
          <pc:chgData name="Timo Gossen" userId="4ec7f864-84f7-407f-b8f9-5c31d0de0089" providerId="ADAL" clId="{571CDA5C-BF26-48DF-9431-1F0E911D99DD}" dt="2020-08-12T15:21:45.158" v="41" actId="2696"/>
          <pc:sldLayoutMkLst>
            <pc:docMk/>
            <pc:sldMasterMk cId="417213329" sldId="2147483719"/>
            <pc:sldLayoutMk cId="191537649" sldId="2147483739"/>
          </pc:sldLayoutMkLst>
        </pc:sldLayoutChg>
        <pc:sldLayoutChg chg="del setBg">
          <pc:chgData name="Timo Gossen" userId="4ec7f864-84f7-407f-b8f9-5c31d0de0089" providerId="ADAL" clId="{571CDA5C-BF26-48DF-9431-1F0E911D99DD}" dt="2020-08-12T15:21:45.128" v="40" actId="2696"/>
          <pc:sldLayoutMkLst>
            <pc:docMk/>
            <pc:sldMasterMk cId="417213329" sldId="2147483719"/>
            <pc:sldLayoutMk cId="4100382028" sldId="2147483740"/>
          </pc:sldLayoutMkLst>
        </pc:sldLayoutChg>
        <pc:sldLayoutChg chg="del setBg">
          <pc:chgData name="Timo Gossen" userId="4ec7f864-84f7-407f-b8f9-5c31d0de0089" providerId="ADAL" clId="{571CDA5C-BF26-48DF-9431-1F0E911D99DD}" dt="2020-08-12T15:21:45.004" v="39" actId="2696"/>
          <pc:sldLayoutMkLst>
            <pc:docMk/>
            <pc:sldMasterMk cId="417213329" sldId="2147483719"/>
            <pc:sldLayoutMk cId="3805649329" sldId="2147483741"/>
          </pc:sldLayoutMkLst>
        </pc:sldLayoutChg>
        <pc:sldLayoutChg chg="del">
          <pc:chgData name="Timo Gossen" userId="4ec7f864-84f7-407f-b8f9-5c31d0de0089" providerId="ADAL" clId="{571CDA5C-BF26-48DF-9431-1F0E911D99DD}" dt="2020-08-12T15:21:44.970" v="38" actId="2696"/>
          <pc:sldLayoutMkLst>
            <pc:docMk/>
            <pc:sldMasterMk cId="417213329" sldId="2147483719"/>
            <pc:sldLayoutMk cId="1459502419" sldId="2147483742"/>
          </pc:sldLayoutMkLst>
        </pc:sldLayoutChg>
        <pc:sldLayoutChg chg="del setBg">
          <pc:chgData name="Timo Gossen" userId="4ec7f864-84f7-407f-b8f9-5c31d0de0089" providerId="ADAL" clId="{571CDA5C-BF26-48DF-9431-1F0E911D99DD}" dt="2020-08-12T15:21:44.952" v="37" actId="2696"/>
          <pc:sldLayoutMkLst>
            <pc:docMk/>
            <pc:sldMasterMk cId="417213329" sldId="2147483719"/>
            <pc:sldLayoutMk cId="769837313" sldId="2147483743"/>
          </pc:sldLayoutMkLst>
        </pc:sldLayoutChg>
        <pc:sldLayoutChg chg="del setBg">
          <pc:chgData name="Timo Gossen" userId="4ec7f864-84f7-407f-b8f9-5c31d0de0089" providerId="ADAL" clId="{571CDA5C-BF26-48DF-9431-1F0E911D99DD}" dt="2020-08-12T15:21:44.903" v="36" actId="2696"/>
          <pc:sldLayoutMkLst>
            <pc:docMk/>
            <pc:sldMasterMk cId="417213329" sldId="2147483719"/>
            <pc:sldLayoutMk cId="1577770122" sldId="2147483744"/>
          </pc:sldLayoutMkLst>
        </pc:sldLayoutChg>
        <pc:sldLayoutChg chg="del setBg">
          <pc:chgData name="Timo Gossen" userId="4ec7f864-84f7-407f-b8f9-5c31d0de0089" providerId="ADAL" clId="{571CDA5C-BF26-48DF-9431-1F0E911D99DD}" dt="2020-08-12T15:21:44.884" v="35" actId="2696"/>
          <pc:sldLayoutMkLst>
            <pc:docMk/>
            <pc:sldMasterMk cId="417213329" sldId="2147483719"/>
            <pc:sldLayoutMk cId="488666338" sldId="2147483745"/>
          </pc:sldLayoutMkLst>
        </pc:sldLayoutChg>
        <pc:sldLayoutChg chg="del setBg">
          <pc:chgData name="Timo Gossen" userId="4ec7f864-84f7-407f-b8f9-5c31d0de0089" providerId="ADAL" clId="{571CDA5C-BF26-48DF-9431-1F0E911D99DD}" dt="2020-08-12T15:21:44.835" v="34" actId="2696"/>
          <pc:sldLayoutMkLst>
            <pc:docMk/>
            <pc:sldMasterMk cId="417213329" sldId="2147483719"/>
            <pc:sldLayoutMk cId="2717617263" sldId="2147483746"/>
          </pc:sldLayoutMkLst>
        </pc:sldLayoutChg>
        <pc:sldLayoutChg chg="del setBg">
          <pc:chgData name="Timo Gossen" userId="4ec7f864-84f7-407f-b8f9-5c31d0de0089" providerId="ADAL" clId="{571CDA5C-BF26-48DF-9431-1F0E911D99DD}" dt="2020-08-12T15:21:44.811" v="33" actId="2696"/>
          <pc:sldLayoutMkLst>
            <pc:docMk/>
            <pc:sldMasterMk cId="417213329" sldId="2147483719"/>
            <pc:sldLayoutMk cId="2234264747" sldId="2147483747"/>
          </pc:sldLayoutMkLst>
        </pc:sldLayoutChg>
        <pc:sldLayoutChg chg="del setBg">
          <pc:chgData name="Timo Gossen" userId="4ec7f864-84f7-407f-b8f9-5c31d0de0089" providerId="ADAL" clId="{571CDA5C-BF26-48DF-9431-1F0E911D99DD}" dt="2020-08-12T15:21:44.770" v="32" actId="2696"/>
          <pc:sldLayoutMkLst>
            <pc:docMk/>
            <pc:sldMasterMk cId="417213329" sldId="2147483719"/>
            <pc:sldLayoutMk cId="1328194097" sldId="2147483748"/>
          </pc:sldLayoutMkLst>
        </pc:sldLayoutChg>
        <pc:sldLayoutChg chg="del">
          <pc:chgData name="Timo Gossen" userId="4ec7f864-84f7-407f-b8f9-5c31d0de0089" providerId="ADAL" clId="{571CDA5C-BF26-48DF-9431-1F0E911D99DD}" dt="2020-08-12T15:21:44.732" v="31" actId="2696"/>
          <pc:sldLayoutMkLst>
            <pc:docMk/>
            <pc:sldMasterMk cId="417213329" sldId="2147483719"/>
            <pc:sldLayoutMk cId="3304289568" sldId="2147483749"/>
          </pc:sldLayoutMkLst>
        </pc:sldLayoutChg>
        <pc:sldLayoutChg chg="del">
          <pc:chgData name="Timo Gossen" userId="4ec7f864-84f7-407f-b8f9-5c31d0de0089" providerId="ADAL" clId="{571CDA5C-BF26-48DF-9431-1F0E911D99DD}" dt="2020-08-12T15:21:44.706" v="30" actId="2696"/>
          <pc:sldLayoutMkLst>
            <pc:docMk/>
            <pc:sldMasterMk cId="417213329" sldId="2147483719"/>
            <pc:sldLayoutMk cId="327882706" sldId="2147483750"/>
          </pc:sldLayoutMkLst>
        </pc:sldLayoutChg>
        <pc:sldLayoutChg chg="del">
          <pc:chgData name="Timo Gossen" userId="4ec7f864-84f7-407f-b8f9-5c31d0de0089" providerId="ADAL" clId="{571CDA5C-BF26-48DF-9431-1F0E911D99DD}" dt="2020-08-12T15:21:44.678" v="29" actId="2696"/>
          <pc:sldLayoutMkLst>
            <pc:docMk/>
            <pc:sldMasterMk cId="417213329" sldId="2147483719"/>
            <pc:sldLayoutMk cId="3704316108" sldId="2147483751"/>
          </pc:sldLayoutMkLst>
        </pc:sldLayoutChg>
        <pc:sldLayoutChg chg="del">
          <pc:chgData name="Timo Gossen" userId="4ec7f864-84f7-407f-b8f9-5c31d0de0089" providerId="ADAL" clId="{571CDA5C-BF26-48DF-9431-1F0E911D99DD}" dt="2020-08-12T15:21:44.655" v="28" actId="2696"/>
          <pc:sldLayoutMkLst>
            <pc:docMk/>
            <pc:sldMasterMk cId="417213329" sldId="2147483719"/>
            <pc:sldLayoutMk cId="2851052423" sldId="2147483752"/>
          </pc:sldLayoutMkLst>
        </pc:sldLayoutChg>
        <pc:sldLayoutChg chg="del setBg">
          <pc:chgData name="Timo Gossen" userId="4ec7f864-84f7-407f-b8f9-5c31d0de0089" providerId="ADAL" clId="{571CDA5C-BF26-48DF-9431-1F0E911D99DD}" dt="2020-08-12T15:21:44.575" v="27" actId="2696"/>
          <pc:sldLayoutMkLst>
            <pc:docMk/>
            <pc:sldMasterMk cId="417213329" sldId="2147483719"/>
            <pc:sldLayoutMk cId="317955675" sldId="2147483753"/>
          </pc:sldLayoutMkLst>
        </pc:sldLayoutChg>
        <pc:sldLayoutChg chg="del">
          <pc:chgData name="Timo Gossen" userId="4ec7f864-84f7-407f-b8f9-5c31d0de0089" providerId="ADAL" clId="{571CDA5C-BF26-48DF-9431-1F0E911D99DD}" dt="2020-08-12T15:21:44.554" v="26" actId="2696"/>
          <pc:sldLayoutMkLst>
            <pc:docMk/>
            <pc:sldMasterMk cId="417213329" sldId="2147483719"/>
            <pc:sldLayoutMk cId="1175496144" sldId="2147483754"/>
          </pc:sldLayoutMkLst>
        </pc:sldLayoutChg>
        <pc:sldLayoutChg chg="del">
          <pc:chgData name="Timo Gossen" userId="4ec7f864-84f7-407f-b8f9-5c31d0de0089" providerId="ADAL" clId="{571CDA5C-BF26-48DF-9431-1F0E911D99DD}" dt="2020-08-12T15:21:44.523" v="25" actId="2696"/>
          <pc:sldLayoutMkLst>
            <pc:docMk/>
            <pc:sldMasterMk cId="417213329" sldId="2147483719"/>
            <pc:sldLayoutMk cId="2584565044" sldId="2147483755"/>
          </pc:sldLayoutMkLst>
        </pc:sldLayoutChg>
        <pc:sldLayoutChg chg="del">
          <pc:chgData name="Timo Gossen" userId="4ec7f864-84f7-407f-b8f9-5c31d0de0089" providerId="ADAL" clId="{571CDA5C-BF26-48DF-9431-1F0E911D99DD}" dt="2020-08-12T15:21:43.644" v="18" actId="2696"/>
          <pc:sldLayoutMkLst>
            <pc:docMk/>
            <pc:sldMasterMk cId="417213329" sldId="2147483719"/>
            <pc:sldLayoutMk cId="3833647834" sldId="2147483756"/>
          </pc:sldLayoutMkLst>
        </pc:sldLayoutChg>
        <pc:sldLayoutChg chg="del">
          <pc:chgData name="Timo Gossen" userId="4ec7f864-84f7-407f-b8f9-5c31d0de0089" providerId="ADAL" clId="{571CDA5C-BF26-48DF-9431-1F0E911D99DD}" dt="2020-08-12T15:21:44.147" v="19" actId="2696"/>
          <pc:sldLayoutMkLst>
            <pc:docMk/>
            <pc:sldMasterMk cId="417213329" sldId="2147483719"/>
            <pc:sldLayoutMk cId="3533794927" sldId="2147483757"/>
          </pc:sldLayoutMkLst>
        </pc:sldLayoutChg>
        <pc:sldLayoutChg chg="del setBg">
          <pc:chgData name="Timo Gossen" userId="4ec7f864-84f7-407f-b8f9-5c31d0de0089" providerId="ADAL" clId="{571CDA5C-BF26-48DF-9431-1F0E911D99DD}" dt="2020-08-12T15:21:44.173" v="20" actId="2696"/>
          <pc:sldLayoutMkLst>
            <pc:docMk/>
            <pc:sldMasterMk cId="417213329" sldId="2147483719"/>
            <pc:sldLayoutMk cId="438032852" sldId="2147483758"/>
          </pc:sldLayoutMkLst>
        </pc:sldLayoutChg>
        <pc:sldLayoutChg chg="del">
          <pc:chgData name="Timo Gossen" userId="4ec7f864-84f7-407f-b8f9-5c31d0de0089" providerId="ADAL" clId="{571CDA5C-BF26-48DF-9431-1F0E911D99DD}" dt="2020-08-12T15:21:44.210" v="21" actId="2696"/>
          <pc:sldLayoutMkLst>
            <pc:docMk/>
            <pc:sldMasterMk cId="417213329" sldId="2147483719"/>
            <pc:sldLayoutMk cId="2548120502" sldId="2147483759"/>
          </pc:sldLayoutMkLst>
        </pc:sldLayoutChg>
        <pc:sldLayoutChg chg="del">
          <pc:chgData name="Timo Gossen" userId="4ec7f864-84f7-407f-b8f9-5c31d0de0089" providerId="ADAL" clId="{571CDA5C-BF26-48DF-9431-1F0E911D99DD}" dt="2020-08-12T15:21:44.369" v="22" actId="2696"/>
          <pc:sldLayoutMkLst>
            <pc:docMk/>
            <pc:sldMasterMk cId="417213329" sldId="2147483719"/>
            <pc:sldLayoutMk cId="4258764510" sldId="2147483760"/>
          </pc:sldLayoutMkLst>
        </pc:sldLayoutChg>
        <pc:sldLayoutChg chg="del">
          <pc:chgData name="Timo Gossen" userId="4ec7f864-84f7-407f-b8f9-5c31d0de0089" providerId="ADAL" clId="{571CDA5C-BF26-48DF-9431-1F0E911D99DD}" dt="2020-08-12T15:21:44.436" v="23" actId="2696"/>
          <pc:sldLayoutMkLst>
            <pc:docMk/>
            <pc:sldMasterMk cId="417213329" sldId="2147483719"/>
            <pc:sldLayoutMk cId="3573106365" sldId="2147483761"/>
          </pc:sldLayoutMkLst>
        </pc:sldLayoutChg>
        <pc:sldLayoutChg chg="del">
          <pc:chgData name="Timo Gossen" userId="4ec7f864-84f7-407f-b8f9-5c31d0de0089" providerId="ADAL" clId="{571CDA5C-BF26-48DF-9431-1F0E911D99DD}" dt="2020-08-12T15:21:44.472" v="24" actId="2696"/>
          <pc:sldLayoutMkLst>
            <pc:docMk/>
            <pc:sldMasterMk cId="417213329" sldId="2147483719"/>
            <pc:sldLayoutMk cId="3648754847" sldId="2147483762"/>
          </pc:sldLayoutMkLst>
        </pc:sldLayoutChg>
      </pc:sldMasterChg>
      <pc:sldMasterChg chg="new del mod addSldLayout delSldLayout">
        <pc:chgData name="Timo Gossen" userId="4ec7f864-84f7-407f-b8f9-5c31d0de0089" providerId="ADAL" clId="{571CDA5C-BF26-48DF-9431-1F0E911D99DD}" dt="2020-08-12T15:21:19.522" v="17" actId="2696"/>
        <pc:sldMasterMkLst>
          <pc:docMk/>
          <pc:sldMasterMk cId="4029362103" sldId="2147483763"/>
        </pc:sldMasterMkLst>
        <pc:sldLayoutChg chg="new del replId">
          <pc:chgData name="Timo Gossen" userId="4ec7f864-84f7-407f-b8f9-5c31d0de0089" providerId="ADAL" clId="{571CDA5C-BF26-48DF-9431-1F0E911D99DD}" dt="2020-08-12T15:21:19.471" v="6" actId="2696"/>
          <pc:sldLayoutMkLst>
            <pc:docMk/>
            <pc:sldMasterMk cId="4029362103" sldId="2147483763"/>
            <pc:sldLayoutMk cId="1552918295" sldId="2147483764"/>
          </pc:sldLayoutMkLst>
        </pc:sldLayoutChg>
        <pc:sldLayoutChg chg="new del replId">
          <pc:chgData name="Timo Gossen" userId="4ec7f864-84f7-407f-b8f9-5c31d0de0089" providerId="ADAL" clId="{571CDA5C-BF26-48DF-9431-1F0E911D99DD}" dt="2020-08-12T15:21:19.474" v="7" actId="2696"/>
          <pc:sldLayoutMkLst>
            <pc:docMk/>
            <pc:sldMasterMk cId="4029362103" sldId="2147483763"/>
            <pc:sldLayoutMk cId="2311366032" sldId="2147483765"/>
          </pc:sldLayoutMkLst>
        </pc:sldLayoutChg>
        <pc:sldLayoutChg chg="new del replId">
          <pc:chgData name="Timo Gossen" userId="4ec7f864-84f7-407f-b8f9-5c31d0de0089" providerId="ADAL" clId="{571CDA5C-BF26-48DF-9431-1F0E911D99DD}" dt="2020-08-12T15:21:19.477" v="8" actId="2696"/>
          <pc:sldLayoutMkLst>
            <pc:docMk/>
            <pc:sldMasterMk cId="4029362103" sldId="2147483763"/>
            <pc:sldLayoutMk cId="950917166" sldId="2147483766"/>
          </pc:sldLayoutMkLst>
        </pc:sldLayoutChg>
        <pc:sldLayoutChg chg="new del replId">
          <pc:chgData name="Timo Gossen" userId="4ec7f864-84f7-407f-b8f9-5c31d0de0089" providerId="ADAL" clId="{571CDA5C-BF26-48DF-9431-1F0E911D99DD}" dt="2020-08-12T15:21:19.482" v="9" actId="2696"/>
          <pc:sldLayoutMkLst>
            <pc:docMk/>
            <pc:sldMasterMk cId="4029362103" sldId="2147483763"/>
            <pc:sldLayoutMk cId="3961782766" sldId="2147483767"/>
          </pc:sldLayoutMkLst>
        </pc:sldLayoutChg>
        <pc:sldLayoutChg chg="new del replId">
          <pc:chgData name="Timo Gossen" userId="4ec7f864-84f7-407f-b8f9-5c31d0de0089" providerId="ADAL" clId="{571CDA5C-BF26-48DF-9431-1F0E911D99DD}" dt="2020-08-12T15:21:19.486" v="10" actId="2696"/>
          <pc:sldLayoutMkLst>
            <pc:docMk/>
            <pc:sldMasterMk cId="4029362103" sldId="2147483763"/>
            <pc:sldLayoutMk cId="2209124577" sldId="2147483768"/>
          </pc:sldLayoutMkLst>
        </pc:sldLayoutChg>
        <pc:sldLayoutChg chg="new del replId">
          <pc:chgData name="Timo Gossen" userId="4ec7f864-84f7-407f-b8f9-5c31d0de0089" providerId="ADAL" clId="{571CDA5C-BF26-48DF-9431-1F0E911D99DD}" dt="2020-08-12T15:21:19.490" v="11" actId="2696"/>
          <pc:sldLayoutMkLst>
            <pc:docMk/>
            <pc:sldMasterMk cId="4029362103" sldId="2147483763"/>
            <pc:sldLayoutMk cId="770834549" sldId="2147483769"/>
          </pc:sldLayoutMkLst>
        </pc:sldLayoutChg>
        <pc:sldLayoutChg chg="new del replId">
          <pc:chgData name="Timo Gossen" userId="4ec7f864-84f7-407f-b8f9-5c31d0de0089" providerId="ADAL" clId="{571CDA5C-BF26-48DF-9431-1F0E911D99DD}" dt="2020-08-12T15:21:19.495" v="12" actId="2696"/>
          <pc:sldLayoutMkLst>
            <pc:docMk/>
            <pc:sldMasterMk cId="4029362103" sldId="2147483763"/>
            <pc:sldLayoutMk cId="3028315990" sldId="2147483770"/>
          </pc:sldLayoutMkLst>
        </pc:sldLayoutChg>
        <pc:sldLayoutChg chg="new del replId">
          <pc:chgData name="Timo Gossen" userId="4ec7f864-84f7-407f-b8f9-5c31d0de0089" providerId="ADAL" clId="{571CDA5C-BF26-48DF-9431-1F0E911D99DD}" dt="2020-08-12T15:21:19.500" v="13" actId="2696"/>
          <pc:sldLayoutMkLst>
            <pc:docMk/>
            <pc:sldMasterMk cId="4029362103" sldId="2147483763"/>
            <pc:sldLayoutMk cId="3839486652" sldId="2147483771"/>
          </pc:sldLayoutMkLst>
        </pc:sldLayoutChg>
        <pc:sldLayoutChg chg="new del replId">
          <pc:chgData name="Timo Gossen" userId="4ec7f864-84f7-407f-b8f9-5c31d0de0089" providerId="ADAL" clId="{571CDA5C-BF26-48DF-9431-1F0E911D99DD}" dt="2020-08-12T15:21:19.505" v="14" actId="2696"/>
          <pc:sldLayoutMkLst>
            <pc:docMk/>
            <pc:sldMasterMk cId="4029362103" sldId="2147483763"/>
            <pc:sldLayoutMk cId="257946634" sldId="2147483772"/>
          </pc:sldLayoutMkLst>
        </pc:sldLayoutChg>
        <pc:sldLayoutChg chg="new del replId">
          <pc:chgData name="Timo Gossen" userId="4ec7f864-84f7-407f-b8f9-5c31d0de0089" providerId="ADAL" clId="{571CDA5C-BF26-48DF-9431-1F0E911D99DD}" dt="2020-08-12T15:21:19.510" v="15" actId="2696"/>
          <pc:sldLayoutMkLst>
            <pc:docMk/>
            <pc:sldMasterMk cId="4029362103" sldId="2147483763"/>
            <pc:sldLayoutMk cId="3660888018" sldId="2147483773"/>
          </pc:sldLayoutMkLst>
        </pc:sldLayoutChg>
        <pc:sldLayoutChg chg="new del replId">
          <pc:chgData name="Timo Gossen" userId="4ec7f864-84f7-407f-b8f9-5c31d0de0089" providerId="ADAL" clId="{571CDA5C-BF26-48DF-9431-1F0E911D99DD}" dt="2020-08-12T15:21:19.515" v="16" actId="2696"/>
          <pc:sldLayoutMkLst>
            <pc:docMk/>
            <pc:sldMasterMk cId="4029362103" sldId="2147483763"/>
            <pc:sldLayoutMk cId="2232731112" sldId="2147483774"/>
          </pc:sldLayoutMkLst>
        </pc:sldLayoutChg>
      </pc:sldMasterChg>
    </pc:docChg>
  </pc:docChgLst>
  <pc:docChgLst>
    <pc:chgData name="Dean Hardy" userId="S::dehardy@microsoft.com::6bbfd710-9798-44f5-98ad-904595277e9e" providerId="AD" clId="Web-{6F65BD8B-187F-9A0A-2D57-A0275826B5D1}"/>
    <pc:docChg chg="modSld">
      <pc:chgData name="Dean Hardy" userId="S::dehardy@microsoft.com::6bbfd710-9798-44f5-98ad-904595277e9e" providerId="AD" clId="Web-{6F65BD8B-187F-9A0A-2D57-A0275826B5D1}" dt="2021-11-29T18:02:37.278" v="0" actId="1076"/>
      <pc:docMkLst>
        <pc:docMk/>
      </pc:docMkLst>
      <pc:sldChg chg="modSp">
        <pc:chgData name="Dean Hardy" userId="S::dehardy@microsoft.com::6bbfd710-9798-44f5-98ad-904595277e9e" providerId="AD" clId="Web-{6F65BD8B-187F-9A0A-2D57-A0275826B5D1}" dt="2021-11-29T18:02:37.278" v="0" actId="1076"/>
        <pc:sldMkLst>
          <pc:docMk/>
          <pc:sldMk cId="2366127103" sldId="10231"/>
        </pc:sldMkLst>
        <pc:spChg chg="mod">
          <ac:chgData name="Dean Hardy" userId="S::dehardy@microsoft.com::6bbfd710-9798-44f5-98ad-904595277e9e" providerId="AD" clId="Web-{6F65BD8B-187F-9A0A-2D57-A0275826B5D1}" dt="2021-11-29T18:02:37.278" v="0" actId="1076"/>
          <ac:spMkLst>
            <pc:docMk/>
            <pc:sldMk cId="2366127103" sldId="10231"/>
            <ac:spMk id="15" creationId="{4D635081-5C14-4453-98A4-27FF3E58A236}"/>
          </ac:spMkLst>
        </pc:spChg>
      </pc:sldChg>
    </pc:docChg>
  </pc:docChgLst>
  <pc:docChgLst>
    <pc:chgData name="Reed Wolfe" userId="S::reedw@microsoft.com::d05f6079-100b-4fbc-abf2-3407048ef9c5" providerId="AD" clId="Web-{0EBAAE9F-0090-0000-D168-AA10030E10C3}"/>
    <pc:docChg chg="modSld">
      <pc:chgData name="Reed Wolfe" userId="S::reedw@microsoft.com::d05f6079-100b-4fbc-abf2-3407048ef9c5" providerId="AD" clId="Web-{0EBAAE9F-0090-0000-D168-AA10030E10C3}" dt="2021-02-25T13:50:53.241" v="4"/>
      <pc:docMkLst>
        <pc:docMk/>
      </pc:docMkLst>
      <pc:sldChg chg="modSp">
        <pc:chgData name="Reed Wolfe" userId="S::reedw@microsoft.com::d05f6079-100b-4fbc-abf2-3407048ef9c5" providerId="AD" clId="Web-{0EBAAE9F-0090-0000-D168-AA10030E10C3}" dt="2021-02-25T13:50:53.241" v="4"/>
        <pc:sldMkLst>
          <pc:docMk/>
          <pc:sldMk cId="2345068032" sldId="1786"/>
        </pc:sldMkLst>
        <pc:graphicFrameChg chg="mod modGraphic">
          <ac:chgData name="Reed Wolfe" userId="S::reedw@microsoft.com::d05f6079-100b-4fbc-abf2-3407048ef9c5" providerId="AD" clId="Web-{0EBAAE9F-0090-0000-D168-AA10030E10C3}" dt="2021-02-25T13:50:53.241" v="4"/>
          <ac:graphicFrameMkLst>
            <pc:docMk/>
            <pc:sldMk cId="2345068032" sldId="1786"/>
            <ac:graphicFrameMk id="4" creationId="{9E04F86D-C834-4ACE-86A6-012EE8D90DEB}"/>
          </ac:graphicFrameMkLst>
        </pc:graphicFrameChg>
      </pc:sldChg>
      <pc:sldChg chg="modSp">
        <pc:chgData name="Reed Wolfe" userId="S::reedw@microsoft.com::d05f6079-100b-4fbc-abf2-3407048ef9c5" providerId="AD" clId="Web-{0EBAAE9F-0090-0000-D168-AA10030E10C3}" dt="2021-02-25T13:50:37.662" v="0" actId="20577"/>
        <pc:sldMkLst>
          <pc:docMk/>
          <pc:sldMk cId="856216650" sldId="10223"/>
        </pc:sldMkLst>
        <pc:spChg chg="mod">
          <ac:chgData name="Reed Wolfe" userId="S::reedw@microsoft.com::d05f6079-100b-4fbc-abf2-3407048ef9c5" providerId="AD" clId="Web-{0EBAAE9F-0090-0000-D168-AA10030E10C3}" dt="2021-02-25T13:50:37.662" v="0" actId="20577"/>
          <ac:spMkLst>
            <pc:docMk/>
            <pc:sldMk cId="856216650" sldId="10223"/>
            <ac:spMk id="5" creationId="{E5DC63EE-DBB0-49B8-A6C8-6875675C302B}"/>
          </ac:spMkLst>
        </pc:spChg>
      </pc:sldChg>
      <pc:sldChg chg="modSp">
        <pc:chgData name="Reed Wolfe" userId="S::reedw@microsoft.com::d05f6079-100b-4fbc-abf2-3407048ef9c5" providerId="AD" clId="Web-{0EBAAE9F-0090-0000-D168-AA10030E10C3}" dt="2021-02-25T13:50:41.866" v="1" actId="20577"/>
        <pc:sldMkLst>
          <pc:docMk/>
          <pc:sldMk cId="2351599916" sldId="10227"/>
        </pc:sldMkLst>
        <pc:spChg chg="mod">
          <ac:chgData name="Reed Wolfe" userId="S::reedw@microsoft.com::d05f6079-100b-4fbc-abf2-3407048ef9c5" providerId="AD" clId="Web-{0EBAAE9F-0090-0000-D168-AA10030E10C3}" dt="2021-02-25T13:50:41.866" v="1" actId="20577"/>
          <ac:spMkLst>
            <pc:docMk/>
            <pc:sldMk cId="2351599916" sldId="10227"/>
            <ac:spMk id="5" creationId="{E5DC63EE-DBB0-49B8-A6C8-6875675C302B}"/>
          </ac:spMkLst>
        </pc:spChg>
      </pc:sldChg>
      <pc:sldChg chg="modSp">
        <pc:chgData name="Reed Wolfe" userId="S::reedw@microsoft.com::d05f6079-100b-4fbc-abf2-3407048ef9c5" providerId="AD" clId="Web-{0EBAAE9F-0090-0000-D168-AA10030E10C3}" dt="2021-02-25T13:50:44.506" v="2" actId="20577"/>
        <pc:sldMkLst>
          <pc:docMk/>
          <pc:sldMk cId="1536065476" sldId="10228"/>
        </pc:sldMkLst>
        <pc:spChg chg="mod">
          <ac:chgData name="Reed Wolfe" userId="S::reedw@microsoft.com::d05f6079-100b-4fbc-abf2-3407048ef9c5" providerId="AD" clId="Web-{0EBAAE9F-0090-0000-D168-AA10030E10C3}" dt="2021-02-25T13:50:44.506" v="2" actId="20577"/>
          <ac:spMkLst>
            <pc:docMk/>
            <pc:sldMk cId="1536065476" sldId="10228"/>
            <ac:spMk id="5" creationId="{E5DC63EE-DBB0-49B8-A6C8-6875675C302B}"/>
          </ac:spMkLst>
        </pc:spChg>
      </pc:sldChg>
    </pc:docChg>
  </pc:docChgLst>
  <pc:docChgLst>
    <pc:chgData name="Christopher Lim" userId="f968ec5d-ece7-49c7-b2a7-1e73f064a379" providerId="ADAL" clId="{48ACA6EC-68B5-4A71-882E-C58C313774C2}"/>
    <pc:docChg chg="undo custSel delSld modSld modSection">
      <pc:chgData name="Christopher Lim" userId="f968ec5d-ece7-49c7-b2a7-1e73f064a379" providerId="ADAL" clId="{48ACA6EC-68B5-4A71-882E-C58C313774C2}" dt="2020-08-12T16:06:59.363" v="95" actId="47"/>
      <pc:docMkLst>
        <pc:docMk/>
      </pc:docMkLst>
      <pc:sldChg chg="addSp delSp modSp mod">
        <pc:chgData name="Christopher Lim" userId="f968ec5d-ece7-49c7-b2a7-1e73f064a379" providerId="ADAL" clId="{48ACA6EC-68B5-4A71-882E-C58C313774C2}" dt="2020-08-12T16:06:44.616" v="94" actId="13926"/>
        <pc:sldMkLst>
          <pc:docMk/>
          <pc:sldMk cId="2356428871" sldId="3131"/>
        </pc:sldMkLst>
        <pc:spChg chg="mod">
          <ac:chgData name="Christopher Lim" userId="f968ec5d-ece7-49c7-b2a7-1e73f064a379" providerId="ADAL" clId="{48ACA6EC-68B5-4A71-882E-C58C313774C2}" dt="2020-08-12T16:04:57.221" v="15" actId="14100"/>
          <ac:spMkLst>
            <pc:docMk/>
            <pc:sldMk cId="2356428871" sldId="3131"/>
            <ac:spMk id="20" creationId="{9C4A0BF9-E23F-4CFA-BFB9-1923DF03340F}"/>
          </ac:spMkLst>
        </pc:spChg>
        <pc:spChg chg="mod">
          <ac:chgData name="Christopher Lim" userId="f968ec5d-ece7-49c7-b2a7-1e73f064a379" providerId="ADAL" clId="{48ACA6EC-68B5-4A71-882E-C58C313774C2}" dt="2020-08-12T16:06:23.722" v="76" actId="20577"/>
          <ac:spMkLst>
            <pc:docMk/>
            <pc:sldMk cId="2356428871" sldId="3131"/>
            <ac:spMk id="26" creationId="{060B385F-DDAB-4620-9658-189E6CCEF254}"/>
          </ac:spMkLst>
        </pc:spChg>
        <pc:spChg chg="mod">
          <ac:chgData name="Christopher Lim" userId="f968ec5d-ece7-49c7-b2a7-1e73f064a379" providerId="ADAL" clId="{48ACA6EC-68B5-4A71-882E-C58C313774C2}" dt="2020-08-12T16:05:56.847" v="41" actId="13926"/>
          <ac:spMkLst>
            <pc:docMk/>
            <pc:sldMk cId="2356428871" sldId="3131"/>
            <ac:spMk id="46" creationId="{423E3344-0D3E-40C6-A30D-D9146C16FFD2}"/>
          </ac:spMkLst>
        </pc:spChg>
        <pc:spChg chg="mod">
          <ac:chgData name="Christopher Lim" userId="f968ec5d-ece7-49c7-b2a7-1e73f064a379" providerId="ADAL" clId="{48ACA6EC-68B5-4A71-882E-C58C313774C2}" dt="2020-08-12T16:06:44.616" v="94" actId="13926"/>
          <ac:spMkLst>
            <pc:docMk/>
            <pc:sldMk cId="2356428871" sldId="3131"/>
            <ac:spMk id="47" creationId="{3153E1ED-F3FC-47BC-86FF-ABC256FF54B7}"/>
          </ac:spMkLst>
        </pc:spChg>
        <pc:graphicFrameChg chg="add del modGraphic">
          <ac:chgData name="Christopher Lim" userId="f968ec5d-ece7-49c7-b2a7-1e73f064a379" providerId="ADAL" clId="{48ACA6EC-68B5-4A71-882E-C58C313774C2}" dt="2020-08-12T16:04:22.215" v="1" actId="27309"/>
          <ac:graphicFrameMkLst>
            <pc:docMk/>
            <pc:sldMk cId="2356428871" sldId="3131"/>
            <ac:graphicFrameMk id="4" creationId="{28FA89F3-A517-4FF9-B5B4-E92EAC1AD9BB}"/>
          </ac:graphicFrameMkLst>
        </pc:graphicFrameChg>
      </pc:sldChg>
      <pc:sldChg chg="del">
        <pc:chgData name="Christopher Lim" userId="f968ec5d-ece7-49c7-b2a7-1e73f064a379" providerId="ADAL" clId="{48ACA6EC-68B5-4A71-882E-C58C313774C2}" dt="2020-08-12T16:06:59.363" v="95" actId="47"/>
        <pc:sldMkLst>
          <pc:docMk/>
          <pc:sldMk cId="3035781452" sldId="10221"/>
        </pc:sldMkLst>
      </pc:sldChg>
    </pc:docChg>
  </pc:docChgLst>
  <pc:docChgLst>
    <pc:chgData name="Reed Wolfe" userId="S::reedw@microsoft.com::d05f6079-100b-4fbc-abf2-3407048ef9c5" providerId="AD" clId="Web-{7FF479AB-E7F0-9EF2-E407-08FBE2A57DAE}"/>
    <pc:docChg chg="mod modSld">
      <pc:chgData name="Reed Wolfe" userId="S::reedw@microsoft.com::d05f6079-100b-4fbc-abf2-3407048ef9c5" providerId="AD" clId="Web-{7FF479AB-E7F0-9EF2-E407-08FBE2A57DAE}" dt="2021-01-29T17:05:50.910" v="85"/>
      <pc:docMkLst>
        <pc:docMk/>
      </pc:docMkLst>
      <pc:sldChg chg="modSp addCm">
        <pc:chgData name="Reed Wolfe" userId="S::reedw@microsoft.com::d05f6079-100b-4fbc-abf2-3407048ef9c5" providerId="AD" clId="Web-{7FF479AB-E7F0-9EF2-E407-08FBE2A57DAE}" dt="2021-01-29T17:05:50.910" v="85"/>
        <pc:sldMkLst>
          <pc:docMk/>
          <pc:sldMk cId="2356428871" sldId="3131"/>
        </pc:sldMkLst>
        <pc:spChg chg="mod">
          <ac:chgData name="Reed Wolfe" userId="S::reedw@microsoft.com::d05f6079-100b-4fbc-abf2-3407048ef9c5" providerId="AD" clId="Web-{7FF479AB-E7F0-9EF2-E407-08FBE2A57DAE}" dt="2021-01-28T14:45:25.672" v="83" actId="14100"/>
          <ac:spMkLst>
            <pc:docMk/>
            <pc:sldMk cId="2356428871" sldId="3131"/>
            <ac:spMk id="6" creationId="{0C400C65-E4D0-41D9-93F7-AC932CB1C30A}"/>
          </ac:spMkLst>
        </pc:spChg>
        <pc:spChg chg="mod">
          <ac:chgData name="Reed Wolfe" userId="S::reedw@microsoft.com::d05f6079-100b-4fbc-abf2-3407048ef9c5" providerId="AD" clId="Web-{7FF479AB-E7F0-9EF2-E407-08FBE2A57DAE}" dt="2021-01-28T14:42:23.052" v="22" actId="20577"/>
          <ac:spMkLst>
            <pc:docMk/>
            <pc:sldMk cId="2356428871" sldId="3131"/>
            <ac:spMk id="30" creationId="{5A74064D-DD39-48F6-894C-9D44E1757055}"/>
          </ac:spMkLst>
        </pc:spChg>
        <pc:spChg chg="mod">
          <ac:chgData name="Reed Wolfe" userId="S::reedw@microsoft.com::d05f6079-100b-4fbc-abf2-3407048ef9c5" providerId="AD" clId="Web-{7FF479AB-E7F0-9EF2-E407-08FBE2A57DAE}" dt="2021-01-28T14:45:19.469" v="81" actId="20577"/>
          <ac:spMkLst>
            <pc:docMk/>
            <pc:sldMk cId="2356428871" sldId="3131"/>
            <ac:spMk id="46" creationId="{423E3344-0D3E-40C6-A30D-D9146C16FFD2}"/>
          </ac:spMkLst>
        </pc:spChg>
      </pc:sldChg>
    </pc:docChg>
  </pc:docChgLst>
  <pc:docChgLst>
    <pc:chgData name="Reed Wolfe" userId="S::reedw@microsoft.com::d05f6079-100b-4fbc-abf2-3407048ef9c5" providerId="AD" clId="Web-{4E1A3110-8FA0-4D8F-557D-AAB16382E054}"/>
    <pc:docChg chg="modSld">
      <pc:chgData name="Reed Wolfe" userId="S::reedw@microsoft.com::d05f6079-100b-4fbc-abf2-3407048ef9c5" providerId="AD" clId="Web-{4E1A3110-8FA0-4D8F-557D-AAB16382E054}" dt="2021-06-05T16:07:53.598" v="29" actId="20577"/>
      <pc:docMkLst>
        <pc:docMk/>
      </pc:docMkLst>
      <pc:sldChg chg="modSp">
        <pc:chgData name="Reed Wolfe" userId="S::reedw@microsoft.com::d05f6079-100b-4fbc-abf2-3407048ef9c5" providerId="AD" clId="Web-{4E1A3110-8FA0-4D8F-557D-AAB16382E054}" dt="2021-06-05T16:07:53.598" v="29" actId="20577"/>
        <pc:sldMkLst>
          <pc:docMk/>
          <pc:sldMk cId="1094870920" sldId="1735"/>
        </pc:sldMkLst>
        <pc:spChg chg="mod">
          <ac:chgData name="Reed Wolfe" userId="S::reedw@microsoft.com::d05f6079-100b-4fbc-abf2-3407048ef9c5" providerId="AD" clId="Web-{4E1A3110-8FA0-4D8F-557D-AAB16382E054}" dt="2021-06-05T14:21:35.565" v="25" actId="20577"/>
          <ac:spMkLst>
            <pc:docMk/>
            <pc:sldMk cId="1094870920" sldId="1735"/>
            <ac:spMk id="99" creationId="{FC4B0DC5-704F-4EF8-8C8D-57B005D97A11}"/>
          </ac:spMkLst>
        </pc:spChg>
        <pc:spChg chg="mod">
          <ac:chgData name="Reed Wolfe" userId="S::reedw@microsoft.com::d05f6079-100b-4fbc-abf2-3407048ef9c5" providerId="AD" clId="Web-{4E1A3110-8FA0-4D8F-557D-AAB16382E054}" dt="2021-06-05T16:07:53.598" v="29" actId="20577"/>
          <ac:spMkLst>
            <pc:docMk/>
            <pc:sldMk cId="1094870920" sldId="1735"/>
            <ac:spMk id="115" creationId="{6A8D80DA-9DE8-4C5A-B709-2F883CCAFD13}"/>
          </ac:spMkLst>
        </pc:spChg>
      </pc:sldChg>
    </pc:docChg>
  </pc:docChgLst>
  <pc:docChgLst>
    <pc:chgData name="Roman Abylkhatov" userId="2e959579-b379-4599-8299-cd2bab77a390" providerId="ADAL" clId="{DA5B1691-E40A-4ED3-BBCF-52A28D5E1192}"/>
    <pc:docChg chg="addSld modSld modSection">
      <pc:chgData name="Roman Abylkhatov" userId="2e959579-b379-4599-8299-cd2bab77a390" providerId="ADAL" clId="{DA5B1691-E40A-4ED3-BBCF-52A28D5E1192}" dt="2021-09-10T13:53:33.211" v="14" actId="20577"/>
      <pc:docMkLst>
        <pc:docMk/>
      </pc:docMkLst>
      <pc:sldChg chg="modSp mod">
        <pc:chgData name="Roman Abylkhatov" userId="2e959579-b379-4599-8299-cd2bab77a390" providerId="ADAL" clId="{DA5B1691-E40A-4ED3-BBCF-52A28D5E1192}" dt="2021-09-10T13:53:17.555" v="6" actId="20577"/>
        <pc:sldMkLst>
          <pc:docMk/>
          <pc:sldMk cId="3426434945" sldId="10232"/>
        </pc:sldMkLst>
        <pc:spChg chg="mod">
          <ac:chgData name="Roman Abylkhatov" userId="2e959579-b379-4599-8299-cd2bab77a390" providerId="ADAL" clId="{DA5B1691-E40A-4ED3-BBCF-52A28D5E1192}" dt="2021-09-10T13:53:17.555" v="6" actId="20577"/>
          <ac:spMkLst>
            <pc:docMk/>
            <pc:sldMk cId="3426434945" sldId="10232"/>
            <ac:spMk id="2" creationId="{45010FE8-BF09-4146-B084-66CB05B66FD9}"/>
          </ac:spMkLst>
        </pc:spChg>
      </pc:sldChg>
      <pc:sldChg chg="modSp add mod">
        <pc:chgData name="Roman Abylkhatov" userId="2e959579-b379-4599-8299-cd2bab77a390" providerId="ADAL" clId="{DA5B1691-E40A-4ED3-BBCF-52A28D5E1192}" dt="2021-09-10T13:53:21.469" v="8" actId="20577"/>
        <pc:sldMkLst>
          <pc:docMk/>
          <pc:sldMk cId="2513655205" sldId="10233"/>
        </pc:sldMkLst>
        <pc:spChg chg="mod">
          <ac:chgData name="Roman Abylkhatov" userId="2e959579-b379-4599-8299-cd2bab77a390" providerId="ADAL" clId="{DA5B1691-E40A-4ED3-BBCF-52A28D5E1192}" dt="2021-09-10T13:53:21.469" v="8" actId="20577"/>
          <ac:spMkLst>
            <pc:docMk/>
            <pc:sldMk cId="2513655205" sldId="10233"/>
            <ac:spMk id="2" creationId="{45010FE8-BF09-4146-B084-66CB05B66FD9}"/>
          </ac:spMkLst>
        </pc:spChg>
      </pc:sldChg>
      <pc:sldChg chg="modSp add mod">
        <pc:chgData name="Roman Abylkhatov" userId="2e959579-b379-4599-8299-cd2bab77a390" providerId="ADAL" clId="{DA5B1691-E40A-4ED3-BBCF-52A28D5E1192}" dt="2021-09-10T13:53:25.782" v="10" actId="20577"/>
        <pc:sldMkLst>
          <pc:docMk/>
          <pc:sldMk cId="3557436465" sldId="10234"/>
        </pc:sldMkLst>
        <pc:spChg chg="mod">
          <ac:chgData name="Roman Abylkhatov" userId="2e959579-b379-4599-8299-cd2bab77a390" providerId="ADAL" clId="{DA5B1691-E40A-4ED3-BBCF-52A28D5E1192}" dt="2021-09-10T13:53:25.782" v="10" actId="20577"/>
          <ac:spMkLst>
            <pc:docMk/>
            <pc:sldMk cId="3557436465" sldId="10234"/>
            <ac:spMk id="2" creationId="{45010FE8-BF09-4146-B084-66CB05B66FD9}"/>
          </ac:spMkLst>
        </pc:spChg>
      </pc:sldChg>
      <pc:sldChg chg="modSp add mod">
        <pc:chgData name="Roman Abylkhatov" userId="2e959579-b379-4599-8299-cd2bab77a390" providerId="ADAL" clId="{DA5B1691-E40A-4ED3-BBCF-52A28D5E1192}" dt="2021-09-10T13:53:29.101" v="12" actId="20577"/>
        <pc:sldMkLst>
          <pc:docMk/>
          <pc:sldMk cId="967050841" sldId="10235"/>
        </pc:sldMkLst>
        <pc:spChg chg="mod">
          <ac:chgData name="Roman Abylkhatov" userId="2e959579-b379-4599-8299-cd2bab77a390" providerId="ADAL" clId="{DA5B1691-E40A-4ED3-BBCF-52A28D5E1192}" dt="2021-09-10T13:53:29.101" v="12" actId="20577"/>
          <ac:spMkLst>
            <pc:docMk/>
            <pc:sldMk cId="967050841" sldId="10235"/>
            <ac:spMk id="2" creationId="{45010FE8-BF09-4146-B084-66CB05B66FD9}"/>
          </ac:spMkLst>
        </pc:spChg>
      </pc:sldChg>
      <pc:sldChg chg="modSp add mod">
        <pc:chgData name="Roman Abylkhatov" userId="2e959579-b379-4599-8299-cd2bab77a390" providerId="ADAL" clId="{DA5B1691-E40A-4ED3-BBCF-52A28D5E1192}" dt="2021-09-10T13:53:33.211" v="14" actId="20577"/>
        <pc:sldMkLst>
          <pc:docMk/>
          <pc:sldMk cId="381485573" sldId="10236"/>
        </pc:sldMkLst>
        <pc:spChg chg="mod">
          <ac:chgData name="Roman Abylkhatov" userId="2e959579-b379-4599-8299-cd2bab77a390" providerId="ADAL" clId="{DA5B1691-E40A-4ED3-BBCF-52A28D5E1192}" dt="2021-09-10T13:53:33.211" v="14" actId="20577"/>
          <ac:spMkLst>
            <pc:docMk/>
            <pc:sldMk cId="381485573" sldId="10236"/>
            <ac:spMk id="2" creationId="{45010FE8-BF09-4146-B084-66CB05B66FD9}"/>
          </ac:spMkLst>
        </pc:spChg>
      </pc:sldChg>
      <pc:sldChg chg="add">
        <pc:chgData name="Roman Abylkhatov" userId="2e959579-b379-4599-8299-cd2bab77a390" providerId="ADAL" clId="{DA5B1691-E40A-4ED3-BBCF-52A28D5E1192}" dt="2021-09-10T13:52:45.368" v="4" actId="22"/>
        <pc:sldMkLst>
          <pc:docMk/>
          <pc:sldMk cId="383852787" sldId="10237"/>
        </pc:sldMkLst>
      </pc:sldChg>
    </pc:docChg>
  </pc:docChgLst>
  <pc:docChgLst>
    <pc:chgData name="Roman Abylkhatov" userId="2e959579-b379-4599-8299-cd2bab77a390" providerId="ADAL" clId="{56F08F62-9616-4608-B27C-604C8C9641F5}"/>
    <pc:docChg chg="undo redo custSel delSld modSld modSection">
      <pc:chgData name="Roman Abylkhatov" userId="2e959579-b379-4599-8299-cd2bab77a390" providerId="ADAL" clId="{56F08F62-9616-4608-B27C-604C8C9641F5}" dt="2020-10-23T05:38:44.463" v="1032" actId="2696"/>
      <pc:docMkLst>
        <pc:docMk/>
      </pc:docMkLst>
      <pc:sldChg chg="addSp delSp modSp mod">
        <pc:chgData name="Roman Abylkhatov" userId="2e959579-b379-4599-8299-cd2bab77a390" providerId="ADAL" clId="{56F08F62-9616-4608-B27C-604C8C9641F5}" dt="2020-10-06T19:39:59.214" v="565" actId="20577"/>
        <pc:sldMkLst>
          <pc:docMk/>
          <pc:sldMk cId="1094870920" sldId="1735"/>
        </pc:sldMkLst>
        <pc:spChg chg="mod">
          <ac:chgData name="Roman Abylkhatov" userId="2e959579-b379-4599-8299-cd2bab77a390" providerId="ADAL" clId="{56F08F62-9616-4608-B27C-604C8C9641F5}" dt="2020-09-29T16:26:30.373" v="45" actId="20577"/>
          <ac:spMkLst>
            <pc:docMk/>
            <pc:sldMk cId="1094870920" sldId="1735"/>
            <ac:spMk id="2" creationId="{45010FE8-BF09-4146-B084-66CB05B66FD9}"/>
          </ac:spMkLst>
        </pc:spChg>
        <pc:spChg chg="mod">
          <ac:chgData name="Roman Abylkhatov" userId="2e959579-b379-4599-8299-cd2bab77a390" providerId="ADAL" clId="{56F08F62-9616-4608-B27C-604C8C9641F5}" dt="2020-10-06T19:39:59.214" v="565" actId="20577"/>
          <ac:spMkLst>
            <pc:docMk/>
            <pc:sldMk cId="1094870920" sldId="1735"/>
            <ac:spMk id="41" creationId="{177907F9-2172-46A3-AEA0-8DD4122F217B}"/>
          </ac:spMkLst>
        </pc:spChg>
        <pc:spChg chg="mod">
          <ac:chgData name="Roman Abylkhatov" userId="2e959579-b379-4599-8299-cd2bab77a390" providerId="ADAL" clId="{56F08F62-9616-4608-B27C-604C8C9641F5}" dt="2020-10-06T19:31:39.438" v="408" actId="20577"/>
          <ac:spMkLst>
            <pc:docMk/>
            <pc:sldMk cId="1094870920" sldId="1735"/>
            <ac:spMk id="55" creationId="{D909AFD3-772D-428E-8735-D3CC0F3F9928}"/>
          </ac:spMkLst>
        </pc:spChg>
        <pc:spChg chg="mod">
          <ac:chgData name="Roman Abylkhatov" userId="2e959579-b379-4599-8299-cd2bab77a390" providerId="ADAL" clId="{56F08F62-9616-4608-B27C-604C8C9641F5}" dt="2020-10-06T19:31:50.717" v="409" actId="20577"/>
          <ac:spMkLst>
            <pc:docMk/>
            <pc:sldMk cId="1094870920" sldId="1735"/>
            <ac:spMk id="60" creationId="{1F0B6B51-41D8-4F93-878F-BACE5D1A7680}"/>
          </ac:spMkLst>
        </pc:spChg>
        <pc:spChg chg="mod">
          <ac:chgData name="Roman Abylkhatov" userId="2e959579-b379-4599-8299-cd2bab77a390" providerId="ADAL" clId="{56F08F62-9616-4608-B27C-604C8C9641F5}" dt="2020-10-06T19:29:33.253" v="267" actId="20577"/>
          <ac:spMkLst>
            <pc:docMk/>
            <pc:sldMk cId="1094870920" sldId="1735"/>
            <ac:spMk id="65" creationId="{54341627-CD8C-4D9B-8381-28743BCFFBF1}"/>
          </ac:spMkLst>
        </pc:spChg>
        <pc:spChg chg="mod">
          <ac:chgData name="Roman Abylkhatov" userId="2e959579-b379-4599-8299-cd2bab77a390" providerId="ADAL" clId="{56F08F62-9616-4608-B27C-604C8C9641F5}" dt="2020-10-06T19:33:53.757" v="463" actId="20577"/>
          <ac:spMkLst>
            <pc:docMk/>
            <pc:sldMk cId="1094870920" sldId="1735"/>
            <ac:spMk id="70" creationId="{1CE81B94-64B5-49BC-8A00-1B321C123F69}"/>
          </ac:spMkLst>
        </pc:spChg>
        <pc:spChg chg="add del mod">
          <ac:chgData name="Roman Abylkhatov" userId="2e959579-b379-4599-8299-cd2bab77a390" providerId="ADAL" clId="{56F08F62-9616-4608-B27C-604C8C9641F5}" dt="2020-10-06T19:33:01.323" v="414" actId="478"/>
          <ac:spMkLst>
            <pc:docMk/>
            <pc:sldMk cId="1094870920" sldId="1735"/>
            <ac:spMk id="97" creationId="{5B8E5012-6CD0-4B42-8142-5179304A0FCA}"/>
          </ac:spMkLst>
        </pc:spChg>
        <pc:spChg chg="mod">
          <ac:chgData name="Roman Abylkhatov" userId="2e959579-b379-4599-8299-cd2bab77a390" providerId="ADAL" clId="{56F08F62-9616-4608-B27C-604C8C9641F5}" dt="2020-10-06T19:33:25.233" v="422" actId="1076"/>
          <ac:spMkLst>
            <pc:docMk/>
            <pc:sldMk cId="1094870920" sldId="1735"/>
            <ac:spMk id="99" creationId="{FC4B0DC5-704F-4EF8-8C8D-57B005D97A11}"/>
          </ac:spMkLst>
        </pc:spChg>
        <pc:spChg chg="mod">
          <ac:chgData name="Roman Abylkhatov" userId="2e959579-b379-4599-8299-cd2bab77a390" providerId="ADAL" clId="{56F08F62-9616-4608-B27C-604C8C9641F5}" dt="2020-10-06T19:30:41.615" v="338" actId="33524"/>
          <ac:spMkLst>
            <pc:docMk/>
            <pc:sldMk cId="1094870920" sldId="1735"/>
            <ac:spMk id="103" creationId="{58D773B7-673F-419E-B0B9-B5B66FF34DCD}"/>
          </ac:spMkLst>
        </pc:spChg>
        <pc:spChg chg="mod">
          <ac:chgData name="Roman Abylkhatov" userId="2e959579-b379-4599-8299-cd2bab77a390" providerId="ADAL" clId="{56F08F62-9616-4608-B27C-604C8C9641F5}" dt="2020-10-06T19:33:08.947" v="417"/>
          <ac:spMkLst>
            <pc:docMk/>
            <pc:sldMk cId="1094870920" sldId="1735"/>
            <ac:spMk id="107" creationId="{84085650-8518-468F-8C8A-021578374871}"/>
          </ac:spMkLst>
        </pc:spChg>
        <pc:spChg chg="mod">
          <ac:chgData name="Roman Abylkhatov" userId="2e959579-b379-4599-8299-cd2bab77a390" providerId="ADAL" clId="{56F08F62-9616-4608-B27C-604C8C9641F5}" dt="2020-10-06T19:33:08.947" v="417"/>
          <ac:spMkLst>
            <pc:docMk/>
            <pc:sldMk cId="1094870920" sldId="1735"/>
            <ac:spMk id="113" creationId="{5FEB52B2-E0FA-46C6-B934-58BC6077D08E}"/>
          </ac:spMkLst>
        </pc:spChg>
        <pc:spChg chg="mod">
          <ac:chgData name="Roman Abylkhatov" userId="2e959579-b379-4599-8299-cd2bab77a390" providerId="ADAL" clId="{56F08F62-9616-4608-B27C-604C8C9641F5}" dt="2020-10-06T19:38:16.249" v="537" actId="20577"/>
          <ac:spMkLst>
            <pc:docMk/>
            <pc:sldMk cId="1094870920" sldId="1735"/>
            <ac:spMk id="115" creationId="{6A8D80DA-9DE8-4C5A-B709-2F883CCAFD13}"/>
          </ac:spMkLst>
        </pc:spChg>
        <pc:spChg chg="mod">
          <ac:chgData name="Roman Abylkhatov" userId="2e959579-b379-4599-8299-cd2bab77a390" providerId="ADAL" clId="{56F08F62-9616-4608-B27C-604C8C9641F5}" dt="2020-10-06T19:35:38.408" v="465"/>
          <ac:spMkLst>
            <pc:docMk/>
            <pc:sldMk cId="1094870920" sldId="1735"/>
            <ac:spMk id="117" creationId="{049335D5-C284-44A2-A891-E27552C6306A}"/>
          </ac:spMkLst>
        </pc:spChg>
        <pc:spChg chg="mod">
          <ac:chgData name="Roman Abylkhatov" userId="2e959579-b379-4599-8299-cd2bab77a390" providerId="ADAL" clId="{56F08F62-9616-4608-B27C-604C8C9641F5}" dt="2020-10-06T19:35:38.408" v="465"/>
          <ac:spMkLst>
            <pc:docMk/>
            <pc:sldMk cId="1094870920" sldId="1735"/>
            <ac:spMk id="118" creationId="{1C452355-97E6-46AF-AAFF-546347365A22}"/>
          </ac:spMkLst>
        </pc:spChg>
        <pc:grpChg chg="mod">
          <ac:chgData name="Roman Abylkhatov" userId="2e959579-b379-4599-8299-cd2bab77a390" providerId="ADAL" clId="{56F08F62-9616-4608-B27C-604C8C9641F5}" dt="2020-10-06T19:37:28.891" v="495" actId="1076"/>
          <ac:grpSpMkLst>
            <pc:docMk/>
            <pc:sldMk cId="1094870920" sldId="1735"/>
            <ac:grpSpMk id="54" creationId="{E3151547-6629-4A30-85D7-9026BFEC7DB1}"/>
          </ac:grpSpMkLst>
        </pc:grpChg>
        <pc:grpChg chg="mod">
          <ac:chgData name="Roman Abylkhatov" userId="2e959579-b379-4599-8299-cd2bab77a390" providerId="ADAL" clId="{56F08F62-9616-4608-B27C-604C8C9641F5}" dt="2020-10-06T19:37:28.891" v="495" actId="1076"/>
          <ac:grpSpMkLst>
            <pc:docMk/>
            <pc:sldMk cId="1094870920" sldId="1735"/>
            <ac:grpSpMk id="59" creationId="{77ACF46A-463D-47C7-864A-28AF0D80B0C8}"/>
          </ac:grpSpMkLst>
        </pc:grpChg>
        <pc:grpChg chg="mod">
          <ac:chgData name="Roman Abylkhatov" userId="2e959579-b379-4599-8299-cd2bab77a390" providerId="ADAL" clId="{56F08F62-9616-4608-B27C-604C8C9641F5}" dt="2020-10-06T19:37:28.891" v="495" actId="1076"/>
          <ac:grpSpMkLst>
            <pc:docMk/>
            <pc:sldMk cId="1094870920" sldId="1735"/>
            <ac:grpSpMk id="64" creationId="{C25BF092-9D17-40D4-AEA1-85E84CD38EE6}"/>
          </ac:grpSpMkLst>
        </pc:grpChg>
        <pc:grpChg chg="mod">
          <ac:chgData name="Roman Abylkhatov" userId="2e959579-b379-4599-8299-cd2bab77a390" providerId="ADAL" clId="{56F08F62-9616-4608-B27C-604C8C9641F5}" dt="2020-10-06T19:37:28.891" v="495" actId="1076"/>
          <ac:grpSpMkLst>
            <pc:docMk/>
            <pc:sldMk cId="1094870920" sldId="1735"/>
            <ac:grpSpMk id="69" creationId="{199D9518-4245-48DA-AFDC-44848BB4C33A}"/>
          </ac:grpSpMkLst>
        </pc:grpChg>
        <pc:grpChg chg="del mod">
          <ac:chgData name="Roman Abylkhatov" userId="2e959579-b379-4599-8299-cd2bab77a390" providerId="ADAL" clId="{56F08F62-9616-4608-B27C-604C8C9641F5}" dt="2020-10-06T19:33:15.259" v="420" actId="478"/>
          <ac:grpSpMkLst>
            <pc:docMk/>
            <pc:sldMk cId="1094870920" sldId="1735"/>
            <ac:grpSpMk id="74" creationId="{50C4E2D5-ABEE-4F1C-8DF5-73DE5AC2F27A}"/>
          </ac:grpSpMkLst>
        </pc:grpChg>
        <pc:grpChg chg="del">
          <ac:chgData name="Roman Abylkhatov" userId="2e959579-b379-4599-8299-cd2bab77a390" providerId="ADAL" clId="{56F08F62-9616-4608-B27C-604C8C9641F5}" dt="2020-10-06T19:35:35.505" v="464" actId="478"/>
          <ac:grpSpMkLst>
            <pc:docMk/>
            <pc:sldMk cId="1094870920" sldId="1735"/>
            <ac:grpSpMk id="79" creationId="{00543721-9F23-4D2C-A13E-D93B984A9FDA}"/>
          </ac:grpSpMkLst>
        </pc:grpChg>
        <pc:grpChg chg="mod">
          <ac:chgData name="Roman Abylkhatov" userId="2e959579-b379-4599-8299-cd2bab77a390" providerId="ADAL" clId="{56F08F62-9616-4608-B27C-604C8C9641F5}" dt="2020-10-06T19:37:28.891" v="495" actId="1076"/>
          <ac:grpSpMkLst>
            <pc:docMk/>
            <pc:sldMk cId="1094870920" sldId="1735"/>
            <ac:grpSpMk id="84" creationId="{95831B84-1C17-4A14-9584-93D7C92B4AC9}"/>
          </ac:grpSpMkLst>
        </pc:grpChg>
        <pc:grpChg chg="add mod">
          <ac:chgData name="Roman Abylkhatov" userId="2e959579-b379-4599-8299-cd2bab77a390" providerId="ADAL" clId="{56F08F62-9616-4608-B27C-604C8C9641F5}" dt="2020-10-06T19:37:28.891" v="495" actId="1076"/>
          <ac:grpSpMkLst>
            <pc:docMk/>
            <pc:sldMk cId="1094870920" sldId="1735"/>
            <ac:grpSpMk id="98" creationId="{AED3DC3C-2C35-484A-A44A-882CFB672503}"/>
          </ac:grpSpMkLst>
        </pc:grpChg>
        <pc:grpChg chg="mod">
          <ac:chgData name="Roman Abylkhatov" userId="2e959579-b379-4599-8299-cd2bab77a390" providerId="ADAL" clId="{56F08F62-9616-4608-B27C-604C8C9641F5}" dt="2020-10-06T19:33:08.947" v="417"/>
          <ac:grpSpMkLst>
            <pc:docMk/>
            <pc:sldMk cId="1094870920" sldId="1735"/>
            <ac:grpSpMk id="106" creationId="{83C72D36-354B-434F-8B1C-38C7DCE2E832}"/>
          </ac:grpSpMkLst>
        </pc:grpChg>
        <pc:grpChg chg="mod">
          <ac:chgData name="Roman Abylkhatov" userId="2e959579-b379-4599-8299-cd2bab77a390" providerId="ADAL" clId="{56F08F62-9616-4608-B27C-604C8C9641F5}" dt="2020-10-06T19:37:28.891" v="495" actId="1076"/>
          <ac:grpSpMkLst>
            <pc:docMk/>
            <pc:sldMk cId="1094870920" sldId="1735"/>
            <ac:grpSpMk id="108" creationId="{1968FCB1-4939-4B68-8DC9-516AB0B3F2DD}"/>
          </ac:grpSpMkLst>
        </pc:grpChg>
        <pc:grpChg chg="add mod">
          <ac:chgData name="Roman Abylkhatov" userId="2e959579-b379-4599-8299-cd2bab77a390" providerId="ADAL" clId="{56F08F62-9616-4608-B27C-604C8C9641F5}" dt="2020-10-06T19:37:28.891" v="495" actId="1076"/>
          <ac:grpSpMkLst>
            <pc:docMk/>
            <pc:sldMk cId="1094870920" sldId="1735"/>
            <ac:grpSpMk id="114" creationId="{38E6168B-17A2-40FF-90C7-264C19822952}"/>
          </ac:grpSpMkLst>
        </pc:grpChg>
        <pc:grpChg chg="mod">
          <ac:chgData name="Roman Abylkhatov" userId="2e959579-b379-4599-8299-cd2bab77a390" providerId="ADAL" clId="{56F08F62-9616-4608-B27C-604C8C9641F5}" dt="2020-10-06T19:35:38.408" v="465"/>
          <ac:grpSpMkLst>
            <pc:docMk/>
            <pc:sldMk cId="1094870920" sldId="1735"/>
            <ac:grpSpMk id="116" creationId="{BA7C836A-DA15-44F2-B894-E577794C6876}"/>
          </ac:grpSpMkLst>
        </pc:grpChg>
      </pc:sldChg>
      <pc:sldChg chg="addSp delSp modSp mod">
        <pc:chgData name="Roman Abylkhatov" userId="2e959579-b379-4599-8299-cd2bab77a390" providerId="ADAL" clId="{56F08F62-9616-4608-B27C-604C8C9641F5}" dt="2020-10-06T19:52:17.734" v="727" actId="13926"/>
        <pc:sldMkLst>
          <pc:docMk/>
          <pc:sldMk cId="2345068032" sldId="1786"/>
        </pc:sldMkLst>
        <pc:spChg chg="mod">
          <ac:chgData name="Roman Abylkhatov" userId="2e959579-b379-4599-8299-cd2bab77a390" providerId="ADAL" clId="{56F08F62-9616-4608-B27C-604C8C9641F5}" dt="2020-10-06T19:41:14.339" v="603" actId="13926"/>
          <ac:spMkLst>
            <pc:docMk/>
            <pc:sldMk cId="2345068032" sldId="1786"/>
            <ac:spMk id="2" creationId="{45010FE8-BF09-4146-B084-66CB05B66FD9}"/>
          </ac:spMkLst>
        </pc:spChg>
        <pc:spChg chg="mod">
          <ac:chgData name="Roman Abylkhatov" userId="2e959579-b379-4599-8299-cd2bab77a390" providerId="ADAL" clId="{56F08F62-9616-4608-B27C-604C8C9641F5}" dt="2020-10-06T19:41:08.748" v="602"/>
          <ac:spMkLst>
            <pc:docMk/>
            <pc:sldMk cId="2345068032" sldId="1786"/>
            <ac:spMk id="11" creationId="{76583F2C-13BC-4FA8-A9DE-F1F764C38F10}"/>
          </ac:spMkLst>
        </pc:spChg>
        <pc:spChg chg="del">
          <ac:chgData name="Roman Abylkhatov" userId="2e959579-b379-4599-8299-cd2bab77a390" providerId="ADAL" clId="{56F08F62-9616-4608-B27C-604C8C9641F5}" dt="2020-10-06T19:47:41.132" v="606" actId="478"/>
          <ac:spMkLst>
            <pc:docMk/>
            <pc:sldMk cId="2345068032" sldId="1786"/>
            <ac:spMk id="15" creationId="{BDD64BFD-7ED9-4476-ABC3-6BBAC4A275B2}"/>
          </ac:spMkLst>
        </pc:spChg>
        <pc:graphicFrameChg chg="add mod modGraphic">
          <ac:chgData name="Roman Abylkhatov" userId="2e959579-b379-4599-8299-cd2bab77a390" providerId="ADAL" clId="{56F08F62-9616-4608-B27C-604C8C9641F5}" dt="2020-10-06T19:52:17.734" v="727" actId="13926"/>
          <ac:graphicFrameMkLst>
            <pc:docMk/>
            <pc:sldMk cId="2345068032" sldId="1786"/>
            <ac:graphicFrameMk id="4" creationId="{9E04F86D-C834-4ACE-86A6-012EE8D90DEB}"/>
          </ac:graphicFrameMkLst>
        </pc:graphicFrameChg>
      </pc:sldChg>
      <pc:sldChg chg="modSp mod">
        <pc:chgData name="Roman Abylkhatov" userId="2e959579-b379-4599-8299-cd2bab77a390" providerId="ADAL" clId="{56F08F62-9616-4608-B27C-604C8C9641F5}" dt="2020-10-06T19:59:23.625" v="993" actId="5793"/>
        <pc:sldMkLst>
          <pc:docMk/>
          <pc:sldMk cId="3071064459" sldId="1795"/>
        </pc:sldMkLst>
        <pc:spChg chg="mod">
          <ac:chgData name="Roman Abylkhatov" userId="2e959579-b379-4599-8299-cd2bab77a390" providerId="ADAL" clId="{56F08F62-9616-4608-B27C-604C8C9641F5}" dt="2020-10-06T19:59:23.625" v="993" actId="5793"/>
          <ac:spMkLst>
            <pc:docMk/>
            <pc:sldMk cId="3071064459" sldId="1795"/>
            <ac:spMk id="2" creationId="{45010FE8-BF09-4146-B084-66CB05B66FD9}"/>
          </ac:spMkLst>
        </pc:spChg>
      </pc:sldChg>
      <pc:sldChg chg="modSp mod">
        <pc:chgData name="Roman Abylkhatov" userId="2e959579-b379-4599-8299-cd2bab77a390" providerId="ADAL" clId="{56F08F62-9616-4608-B27C-604C8C9641F5}" dt="2020-10-06T20:02:39.181" v="995" actId="15"/>
        <pc:sldMkLst>
          <pc:docMk/>
          <pc:sldMk cId="2356428871" sldId="3131"/>
        </pc:sldMkLst>
        <pc:spChg chg="mod">
          <ac:chgData name="Roman Abylkhatov" userId="2e959579-b379-4599-8299-cd2bab77a390" providerId="ADAL" clId="{56F08F62-9616-4608-B27C-604C8C9641F5}" dt="2020-10-06T19:58:08.448" v="924" actId="14100"/>
          <ac:spMkLst>
            <pc:docMk/>
            <pc:sldMk cId="2356428871" sldId="3131"/>
            <ac:spMk id="2" creationId="{45010FE8-BF09-4146-B084-66CB05B66FD9}"/>
          </ac:spMkLst>
        </pc:spChg>
        <pc:spChg chg="mod">
          <ac:chgData name="Roman Abylkhatov" userId="2e959579-b379-4599-8299-cd2bab77a390" providerId="ADAL" clId="{56F08F62-9616-4608-B27C-604C8C9641F5}" dt="2020-10-06T20:02:39.181" v="995" actId="15"/>
          <ac:spMkLst>
            <pc:docMk/>
            <pc:sldMk cId="2356428871" sldId="3131"/>
            <ac:spMk id="20" creationId="{9C4A0BF9-E23F-4CFA-BFB9-1923DF03340F}"/>
          </ac:spMkLst>
        </pc:spChg>
        <pc:spChg chg="mod">
          <ac:chgData name="Roman Abylkhatov" userId="2e959579-b379-4599-8299-cd2bab77a390" providerId="ADAL" clId="{56F08F62-9616-4608-B27C-604C8C9641F5}" dt="2020-10-06T19:58:32.595" v="953" actId="20577"/>
          <ac:spMkLst>
            <pc:docMk/>
            <pc:sldMk cId="2356428871" sldId="3131"/>
            <ac:spMk id="26" creationId="{060B385F-DDAB-4620-9658-189E6CCEF254}"/>
          </ac:spMkLst>
        </pc:spChg>
        <pc:grpChg chg="mod">
          <ac:chgData name="Roman Abylkhatov" userId="2e959579-b379-4599-8299-cd2bab77a390" providerId="ADAL" clId="{56F08F62-9616-4608-B27C-604C8C9641F5}" dt="2020-10-06T19:55:41.670" v="888" actId="14100"/>
          <ac:grpSpMkLst>
            <pc:docMk/>
            <pc:sldMk cId="2356428871" sldId="3131"/>
            <ac:grpSpMk id="25" creationId="{68EA5DDC-E544-4F4D-AB26-DF041AFF16F8}"/>
          </ac:grpSpMkLst>
        </pc:grpChg>
      </pc:sldChg>
      <pc:sldChg chg="del">
        <pc:chgData name="Roman Abylkhatov" userId="2e959579-b379-4599-8299-cd2bab77a390" providerId="ADAL" clId="{56F08F62-9616-4608-B27C-604C8C9641F5}" dt="2020-10-23T05:37:27.741" v="1014" actId="2696"/>
        <pc:sldMkLst>
          <pc:docMk/>
          <pc:sldMk cId="998631707" sldId="3133"/>
        </pc:sldMkLst>
      </pc:sldChg>
      <pc:sldChg chg="addSp delSp modSp mod modTransition modClrScheme chgLayout">
        <pc:chgData name="Roman Abylkhatov" userId="2e959579-b379-4599-8299-cd2bab77a390" providerId="ADAL" clId="{56F08F62-9616-4608-B27C-604C8C9641F5}" dt="2020-10-06T20:24:47.636" v="1013" actId="14100"/>
        <pc:sldMkLst>
          <pc:docMk/>
          <pc:sldMk cId="3300356148" sldId="10222"/>
        </pc:sldMkLst>
        <pc:spChg chg="add del mod ord">
          <ac:chgData name="Roman Abylkhatov" userId="2e959579-b379-4599-8299-cd2bab77a390" providerId="ADAL" clId="{56F08F62-9616-4608-B27C-604C8C9641F5}" dt="2020-10-06T20:23:47.259" v="998" actId="700"/>
          <ac:spMkLst>
            <pc:docMk/>
            <pc:sldMk cId="3300356148" sldId="10222"/>
            <ac:spMk id="2" creationId="{4010C000-9626-4129-9124-1315AA58FEFE}"/>
          </ac:spMkLst>
        </pc:spChg>
        <pc:spChg chg="add del mod ord">
          <ac:chgData name="Roman Abylkhatov" userId="2e959579-b379-4599-8299-cd2bab77a390" providerId="ADAL" clId="{56F08F62-9616-4608-B27C-604C8C9641F5}" dt="2020-10-06T20:24:47.636" v="1013" actId="14100"/>
          <ac:spMkLst>
            <pc:docMk/>
            <pc:sldMk cId="3300356148" sldId="10222"/>
            <ac:spMk id="3" creationId="{ADAEA79F-AF79-4F22-8280-C4011C611AAA}"/>
          </ac:spMkLst>
        </pc:spChg>
        <pc:spChg chg="add del mod">
          <ac:chgData name="Roman Abylkhatov" userId="2e959579-b379-4599-8299-cd2bab77a390" providerId="ADAL" clId="{56F08F62-9616-4608-B27C-604C8C9641F5}" dt="2020-10-06T20:24:25.243" v="1007" actId="478"/>
          <ac:spMkLst>
            <pc:docMk/>
            <pc:sldMk cId="3300356148" sldId="10222"/>
            <ac:spMk id="7" creationId="{3130965E-E897-43AC-9108-CCBC8449A299}"/>
          </ac:spMkLst>
        </pc:spChg>
        <pc:spChg chg="del mod ord">
          <ac:chgData name="Roman Abylkhatov" userId="2e959579-b379-4599-8299-cd2bab77a390" providerId="ADAL" clId="{56F08F62-9616-4608-B27C-604C8C9641F5}" dt="2020-10-06T20:24:15.399" v="1005" actId="478"/>
          <ac:spMkLst>
            <pc:docMk/>
            <pc:sldMk cId="3300356148" sldId="10222"/>
            <ac:spMk id="12" creationId="{48E052C0-54A6-4E53-A82E-17201AAB42C3}"/>
          </ac:spMkLst>
        </pc:spChg>
      </pc:sldChg>
      <pc:sldMasterChg chg="delSldLayout">
        <pc:chgData name="Roman Abylkhatov" userId="2e959579-b379-4599-8299-cd2bab77a390" providerId="ADAL" clId="{56F08F62-9616-4608-B27C-604C8C9641F5}" dt="2020-10-23T05:38:44.463" v="1032" actId="2696"/>
        <pc:sldMasterMkLst>
          <pc:docMk/>
          <pc:sldMasterMk cId="993860654" sldId="2147483660"/>
        </pc:sldMasterMkLst>
        <pc:sldLayoutChg chg="del">
          <pc:chgData name="Roman Abylkhatov" userId="2e959579-b379-4599-8299-cd2bab77a390" providerId="ADAL" clId="{56F08F62-9616-4608-B27C-604C8C9641F5}" dt="2020-10-23T05:38:36.303" v="1023" actId="2696"/>
          <pc:sldLayoutMkLst>
            <pc:docMk/>
            <pc:sldMasterMk cId="993860654" sldId="2147483660"/>
            <pc:sldLayoutMk cId="1095861142" sldId="2147483661"/>
          </pc:sldLayoutMkLst>
        </pc:sldLayoutChg>
        <pc:sldLayoutChg chg="del">
          <pc:chgData name="Roman Abylkhatov" userId="2e959579-b379-4599-8299-cd2bab77a390" providerId="ADAL" clId="{56F08F62-9616-4608-B27C-604C8C9641F5}" dt="2020-10-23T05:38:38.402" v="1024" actId="2696"/>
          <pc:sldLayoutMkLst>
            <pc:docMk/>
            <pc:sldMasterMk cId="993860654" sldId="2147483660"/>
            <pc:sldLayoutMk cId="2598775765" sldId="2147483662"/>
          </pc:sldLayoutMkLst>
        </pc:sldLayoutChg>
        <pc:sldLayoutChg chg="del">
          <pc:chgData name="Roman Abylkhatov" userId="2e959579-b379-4599-8299-cd2bab77a390" providerId="ADAL" clId="{56F08F62-9616-4608-B27C-604C8C9641F5}" dt="2020-10-23T05:38:23.835" v="1018" actId="2696"/>
          <pc:sldLayoutMkLst>
            <pc:docMk/>
            <pc:sldMasterMk cId="993860654" sldId="2147483660"/>
            <pc:sldLayoutMk cId="3183520521" sldId="2147483663"/>
          </pc:sldLayoutMkLst>
        </pc:sldLayoutChg>
        <pc:sldLayoutChg chg="del">
          <pc:chgData name="Roman Abylkhatov" userId="2e959579-b379-4599-8299-cd2bab77a390" providerId="ADAL" clId="{56F08F62-9616-4608-B27C-604C8C9641F5}" dt="2020-10-23T05:38:26.825" v="1019" actId="2696"/>
          <pc:sldLayoutMkLst>
            <pc:docMk/>
            <pc:sldMasterMk cId="993860654" sldId="2147483660"/>
            <pc:sldLayoutMk cId="1521358024" sldId="2147483664"/>
          </pc:sldLayoutMkLst>
        </pc:sldLayoutChg>
        <pc:sldLayoutChg chg="del">
          <pc:chgData name="Roman Abylkhatov" userId="2e959579-b379-4599-8299-cd2bab77a390" providerId="ADAL" clId="{56F08F62-9616-4608-B27C-604C8C9641F5}" dt="2020-10-23T05:38:29.193" v="1020" actId="2696"/>
          <pc:sldLayoutMkLst>
            <pc:docMk/>
            <pc:sldMasterMk cId="993860654" sldId="2147483660"/>
            <pc:sldLayoutMk cId="1225714022" sldId="2147483665"/>
          </pc:sldLayoutMkLst>
        </pc:sldLayoutChg>
        <pc:sldLayoutChg chg="del">
          <pc:chgData name="Roman Abylkhatov" userId="2e959579-b379-4599-8299-cd2bab77a390" providerId="ADAL" clId="{56F08F62-9616-4608-B27C-604C8C9641F5}" dt="2020-10-23T05:38:21.060" v="1017" actId="2696"/>
          <pc:sldLayoutMkLst>
            <pc:docMk/>
            <pc:sldMasterMk cId="993860654" sldId="2147483660"/>
            <pc:sldLayoutMk cId="1043588750" sldId="2147483666"/>
          </pc:sldLayoutMkLst>
        </pc:sldLayoutChg>
        <pc:sldLayoutChg chg="del">
          <pc:chgData name="Roman Abylkhatov" userId="2e959579-b379-4599-8299-cd2bab77a390" providerId="ADAL" clId="{56F08F62-9616-4608-B27C-604C8C9641F5}" dt="2020-10-23T05:38:18.015" v="1016" actId="2696"/>
          <pc:sldLayoutMkLst>
            <pc:docMk/>
            <pc:sldMasterMk cId="993860654" sldId="2147483660"/>
            <pc:sldLayoutMk cId="2295730854" sldId="2147483667"/>
          </pc:sldLayoutMkLst>
        </pc:sldLayoutChg>
        <pc:sldLayoutChg chg="del">
          <pc:chgData name="Roman Abylkhatov" userId="2e959579-b379-4599-8299-cd2bab77a390" providerId="ADAL" clId="{56F08F62-9616-4608-B27C-604C8C9641F5}" dt="2020-10-23T05:38:31.899" v="1021" actId="2696"/>
          <pc:sldLayoutMkLst>
            <pc:docMk/>
            <pc:sldMasterMk cId="993860654" sldId="2147483660"/>
            <pc:sldLayoutMk cId="855540260" sldId="2147483671"/>
          </pc:sldLayoutMkLst>
        </pc:sldLayoutChg>
        <pc:sldLayoutChg chg="del">
          <pc:chgData name="Roman Abylkhatov" userId="2e959579-b379-4599-8299-cd2bab77a390" providerId="ADAL" clId="{56F08F62-9616-4608-B27C-604C8C9641F5}" dt="2020-10-23T05:38:14.873" v="1015" actId="2696"/>
          <pc:sldLayoutMkLst>
            <pc:docMk/>
            <pc:sldMasterMk cId="993860654" sldId="2147483660"/>
            <pc:sldLayoutMk cId="3942002283" sldId="2147483679"/>
          </pc:sldLayoutMkLst>
        </pc:sldLayoutChg>
        <pc:sldLayoutChg chg="del">
          <pc:chgData name="Roman Abylkhatov" userId="2e959579-b379-4599-8299-cd2bab77a390" providerId="ADAL" clId="{56F08F62-9616-4608-B27C-604C8C9641F5}" dt="2020-10-23T05:38:40.340" v="1026" actId="2696"/>
          <pc:sldLayoutMkLst>
            <pc:docMk/>
            <pc:sldMasterMk cId="993860654" sldId="2147483660"/>
            <pc:sldLayoutMk cId="942236260" sldId="2147483680"/>
          </pc:sldLayoutMkLst>
        </pc:sldLayoutChg>
        <pc:sldLayoutChg chg="del">
          <pc:chgData name="Roman Abylkhatov" userId="2e959579-b379-4599-8299-cd2bab77a390" providerId="ADAL" clId="{56F08F62-9616-4608-B27C-604C8C9641F5}" dt="2020-10-23T05:38:40.807" v="1027" actId="2696"/>
          <pc:sldLayoutMkLst>
            <pc:docMk/>
            <pc:sldMasterMk cId="993860654" sldId="2147483660"/>
            <pc:sldLayoutMk cId="130486449" sldId="2147483681"/>
          </pc:sldLayoutMkLst>
        </pc:sldLayoutChg>
        <pc:sldLayoutChg chg="del">
          <pc:chgData name="Roman Abylkhatov" userId="2e959579-b379-4599-8299-cd2bab77a390" providerId="ADAL" clId="{56F08F62-9616-4608-B27C-604C8C9641F5}" dt="2020-10-23T05:38:41.283" v="1028" actId="2696"/>
          <pc:sldLayoutMkLst>
            <pc:docMk/>
            <pc:sldMasterMk cId="993860654" sldId="2147483660"/>
            <pc:sldLayoutMk cId="2234903662" sldId="2147483682"/>
          </pc:sldLayoutMkLst>
        </pc:sldLayoutChg>
        <pc:sldLayoutChg chg="del">
          <pc:chgData name="Roman Abylkhatov" userId="2e959579-b379-4599-8299-cd2bab77a390" providerId="ADAL" clId="{56F08F62-9616-4608-B27C-604C8C9641F5}" dt="2020-10-23T05:38:41.606" v="1029" actId="2696"/>
          <pc:sldLayoutMkLst>
            <pc:docMk/>
            <pc:sldMasterMk cId="993860654" sldId="2147483660"/>
            <pc:sldLayoutMk cId="544152304" sldId="2147483683"/>
          </pc:sldLayoutMkLst>
        </pc:sldLayoutChg>
        <pc:sldLayoutChg chg="del">
          <pc:chgData name="Roman Abylkhatov" userId="2e959579-b379-4599-8299-cd2bab77a390" providerId="ADAL" clId="{56F08F62-9616-4608-B27C-604C8C9641F5}" dt="2020-10-23T05:38:42.621" v="1030" actId="2696"/>
          <pc:sldLayoutMkLst>
            <pc:docMk/>
            <pc:sldMasterMk cId="993860654" sldId="2147483660"/>
            <pc:sldLayoutMk cId="444704530" sldId="2147483684"/>
          </pc:sldLayoutMkLst>
        </pc:sldLayoutChg>
        <pc:sldLayoutChg chg="del">
          <pc:chgData name="Roman Abylkhatov" userId="2e959579-b379-4599-8299-cd2bab77a390" providerId="ADAL" clId="{56F08F62-9616-4608-B27C-604C8C9641F5}" dt="2020-10-23T05:38:43.747" v="1031" actId="2696"/>
          <pc:sldLayoutMkLst>
            <pc:docMk/>
            <pc:sldMasterMk cId="993860654" sldId="2147483660"/>
            <pc:sldLayoutMk cId="2268978664" sldId="2147483685"/>
          </pc:sldLayoutMkLst>
        </pc:sldLayoutChg>
        <pc:sldLayoutChg chg="del">
          <pc:chgData name="Roman Abylkhatov" userId="2e959579-b379-4599-8299-cd2bab77a390" providerId="ADAL" clId="{56F08F62-9616-4608-B27C-604C8C9641F5}" dt="2020-10-23T05:38:44.463" v="1032" actId="2696"/>
          <pc:sldLayoutMkLst>
            <pc:docMk/>
            <pc:sldMasterMk cId="993860654" sldId="2147483660"/>
            <pc:sldLayoutMk cId="3241177136" sldId="2147483686"/>
          </pc:sldLayoutMkLst>
        </pc:sldLayoutChg>
        <pc:sldLayoutChg chg="del">
          <pc:chgData name="Roman Abylkhatov" userId="2e959579-b379-4599-8299-cd2bab77a390" providerId="ADAL" clId="{56F08F62-9616-4608-B27C-604C8C9641F5}" dt="2020-10-23T05:38:39.688" v="1025" actId="2696"/>
          <pc:sldLayoutMkLst>
            <pc:docMk/>
            <pc:sldMasterMk cId="993860654" sldId="2147483660"/>
            <pc:sldLayoutMk cId="3523634492" sldId="2147483696"/>
          </pc:sldLayoutMkLst>
        </pc:sldLayoutChg>
        <pc:sldLayoutChg chg="del">
          <pc:chgData name="Roman Abylkhatov" userId="2e959579-b379-4599-8299-cd2bab77a390" providerId="ADAL" clId="{56F08F62-9616-4608-B27C-604C8C9641F5}" dt="2020-10-23T05:38:34.085" v="1022" actId="2696"/>
          <pc:sldLayoutMkLst>
            <pc:docMk/>
            <pc:sldMasterMk cId="993860654" sldId="2147483660"/>
            <pc:sldLayoutMk cId="4197639878" sldId="2147483706"/>
          </pc:sldLayoutMkLst>
        </pc:sldLayoutChg>
      </pc:sldMasterChg>
    </pc:docChg>
  </pc:docChgLst>
  <pc:docChgLst>
    <pc:chgData name="Reed Wolfe" userId="S::reedw@microsoft.com::d05f6079-100b-4fbc-abf2-3407048ef9c5" providerId="AD" clId="Web-{6FDABDCF-76D8-9630-7D23-CBA42B309A25}"/>
    <pc:docChg chg="modSld">
      <pc:chgData name="Reed Wolfe" userId="S::reedw@microsoft.com::d05f6079-100b-4fbc-abf2-3407048ef9c5" providerId="AD" clId="Web-{6FDABDCF-76D8-9630-7D23-CBA42B309A25}" dt="2021-04-02T16:17:50.722" v="100" actId="20577"/>
      <pc:docMkLst>
        <pc:docMk/>
      </pc:docMkLst>
      <pc:sldChg chg="modSp">
        <pc:chgData name="Reed Wolfe" userId="S::reedw@microsoft.com::d05f6079-100b-4fbc-abf2-3407048ef9c5" providerId="AD" clId="Web-{6FDABDCF-76D8-9630-7D23-CBA42B309A25}" dt="2021-04-02T13:32:37.338" v="2" actId="20577"/>
        <pc:sldMkLst>
          <pc:docMk/>
          <pc:sldMk cId="1094870920" sldId="1735"/>
        </pc:sldMkLst>
        <pc:spChg chg="mod">
          <ac:chgData name="Reed Wolfe" userId="S::reedw@microsoft.com::d05f6079-100b-4fbc-abf2-3407048ef9c5" providerId="AD" clId="Web-{6FDABDCF-76D8-9630-7D23-CBA42B309A25}" dt="2021-04-02T13:32:37.338" v="2" actId="20577"/>
          <ac:spMkLst>
            <pc:docMk/>
            <pc:sldMk cId="1094870920" sldId="1735"/>
            <ac:spMk id="99" creationId="{FC4B0DC5-704F-4EF8-8C8D-57B005D97A11}"/>
          </ac:spMkLst>
        </pc:spChg>
      </pc:sldChg>
      <pc:sldChg chg="modSp">
        <pc:chgData name="Reed Wolfe" userId="S::reedw@microsoft.com::d05f6079-100b-4fbc-abf2-3407048ef9c5" providerId="AD" clId="Web-{6FDABDCF-76D8-9630-7D23-CBA42B309A25}" dt="2021-04-02T14:31:25.407" v="64"/>
        <pc:sldMkLst>
          <pc:docMk/>
          <pc:sldMk cId="2345068032" sldId="1786"/>
        </pc:sldMkLst>
        <pc:graphicFrameChg chg="mod modGraphic">
          <ac:chgData name="Reed Wolfe" userId="S::reedw@microsoft.com::d05f6079-100b-4fbc-abf2-3407048ef9c5" providerId="AD" clId="Web-{6FDABDCF-76D8-9630-7D23-CBA42B309A25}" dt="2021-04-02T14:31:25.407" v="64"/>
          <ac:graphicFrameMkLst>
            <pc:docMk/>
            <pc:sldMk cId="2345068032" sldId="1786"/>
            <ac:graphicFrameMk id="4" creationId="{9E04F86D-C834-4ACE-86A6-012EE8D90DEB}"/>
          </ac:graphicFrameMkLst>
        </pc:graphicFrameChg>
      </pc:sldChg>
      <pc:sldChg chg="modSp">
        <pc:chgData name="Reed Wolfe" userId="S::reedw@microsoft.com::d05f6079-100b-4fbc-abf2-3407048ef9c5" providerId="AD" clId="Web-{6FDABDCF-76D8-9630-7D23-CBA42B309A25}" dt="2021-04-02T16:17:50.722" v="100" actId="20577"/>
        <pc:sldMkLst>
          <pc:docMk/>
          <pc:sldMk cId="2744971081" sldId="10226"/>
        </pc:sldMkLst>
        <pc:spChg chg="mod">
          <ac:chgData name="Reed Wolfe" userId="S::reedw@microsoft.com::d05f6079-100b-4fbc-abf2-3407048ef9c5" providerId="AD" clId="Web-{6FDABDCF-76D8-9630-7D23-CBA42B309A25}" dt="2021-04-02T16:17:50.722" v="100" actId="20577"/>
          <ac:spMkLst>
            <pc:docMk/>
            <pc:sldMk cId="2744971081" sldId="10226"/>
            <ac:spMk id="74" creationId="{D6DB623E-5BE1-4E5F-B54F-B6C5E9272ED0}"/>
          </ac:spMkLst>
        </pc:spChg>
        <pc:grpChg chg="mod">
          <ac:chgData name="Reed Wolfe" userId="S::reedw@microsoft.com::d05f6079-100b-4fbc-abf2-3407048ef9c5" providerId="AD" clId="Web-{6FDABDCF-76D8-9630-7D23-CBA42B309A25}" dt="2021-04-02T16:03:39.766" v="65" actId="1076"/>
          <ac:grpSpMkLst>
            <pc:docMk/>
            <pc:sldMk cId="2744971081" sldId="10226"/>
            <ac:grpSpMk id="73" creationId="{AEE11099-064A-431F-8AE0-CE84BAA66EA9}"/>
          </ac:grpSpMkLst>
        </pc:grpChg>
      </pc:sldChg>
    </pc:docChg>
  </pc:docChgLst>
  <pc:docChgLst>
    <pc:chgData name="Reed Wolfe" userId="S::reedw@microsoft.com::d05f6079-100b-4fbc-abf2-3407048ef9c5" providerId="AD" clId="Web-{9C42657B-DC94-E6D1-5F65-6B082F0EB6E0}"/>
    <pc:docChg chg="modSld">
      <pc:chgData name="Reed Wolfe" userId="S::reedw@microsoft.com::d05f6079-100b-4fbc-abf2-3407048ef9c5" providerId="AD" clId="Web-{9C42657B-DC94-E6D1-5F65-6B082F0EB6E0}" dt="2021-08-27T17:56:33.068" v="1" actId="20577"/>
      <pc:docMkLst>
        <pc:docMk/>
      </pc:docMkLst>
      <pc:sldChg chg="modSp">
        <pc:chgData name="Reed Wolfe" userId="S::reedw@microsoft.com::d05f6079-100b-4fbc-abf2-3407048ef9c5" providerId="AD" clId="Web-{9C42657B-DC94-E6D1-5F65-6B082F0EB6E0}" dt="2021-08-27T17:56:33.068" v="1" actId="20577"/>
        <pc:sldMkLst>
          <pc:docMk/>
          <pc:sldMk cId="1129933908" sldId="3129"/>
        </pc:sldMkLst>
        <pc:spChg chg="mod">
          <ac:chgData name="Reed Wolfe" userId="S::reedw@microsoft.com::d05f6079-100b-4fbc-abf2-3407048ef9c5" providerId="AD" clId="Web-{9C42657B-DC94-E6D1-5F65-6B082F0EB6E0}" dt="2021-08-27T17:56:33.068" v="1" actId="20577"/>
          <ac:spMkLst>
            <pc:docMk/>
            <pc:sldMk cId="1129933908" sldId="3129"/>
            <ac:spMk id="4" creationId="{00000000-0000-0000-0000-000000000000}"/>
          </ac:spMkLst>
        </pc:spChg>
      </pc:sldChg>
    </pc:docChg>
  </pc:docChgLst>
  <pc:docChgLst>
    <pc:chgData name="Danielle Aronson" userId="d876df35-f8b5-4e2a-802a-50d87828d0e8" providerId="ADAL" clId="{69C5A2C8-7EE5-4412-BEAD-14E7B6B727BD}"/>
    <pc:docChg chg="custSel addSld modSld sldOrd modSection">
      <pc:chgData name="Danielle Aronson" userId="d876df35-f8b5-4e2a-802a-50d87828d0e8" providerId="ADAL" clId="{69C5A2C8-7EE5-4412-BEAD-14E7B6B727BD}" dt="2020-04-22T14:33:05.273" v="599" actId="1076"/>
      <pc:docMkLst>
        <pc:docMk/>
      </pc:docMkLst>
      <pc:sldChg chg="modSp mod">
        <pc:chgData name="Danielle Aronson" userId="d876df35-f8b5-4e2a-802a-50d87828d0e8" providerId="ADAL" clId="{69C5A2C8-7EE5-4412-BEAD-14E7B6B727BD}" dt="2020-04-22T14:33:05.273" v="599" actId="1076"/>
        <pc:sldMkLst>
          <pc:docMk/>
          <pc:sldMk cId="1025530479" sldId="1802"/>
        </pc:sldMkLst>
        <pc:spChg chg="mod">
          <ac:chgData name="Danielle Aronson" userId="d876df35-f8b5-4e2a-802a-50d87828d0e8" providerId="ADAL" clId="{69C5A2C8-7EE5-4412-BEAD-14E7B6B727BD}" dt="2020-04-22T14:33:05.273" v="599" actId="1076"/>
          <ac:spMkLst>
            <pc:docMk/>
            <pc:sldMk cId="1025530479" sldId="1802"/>
            <ac:spMk id="47" creationId="{7EC063F3-53DE-4027-8198-EB878597C8FF}"/>
          </ac:spMkLst>
        </pc:spChg>
        <pc:spChg chg="mod">
          <ac:chgData name="Danielle Aronson" userId="d876df35-f8b5-4e2a-802a-50d87828d0e8" providerId="ADAL" clId="{69C5A2C8-7EE5-4412-BEAD-14E7B6B727BD}" dt="2020-04-22T14:32:47.117" v="596" actId="14100"/>
          <ac:spMkLst>
            <pc:docMk/>
            <pc:sldMk cId="1025530479" sldId="1802"/>
            <ac:spMk id="57" creationId="{F52268D3-721B-4FAE-B3FE-D1CB6E297B9E}"/>
          </ac:spMkLst>
        </pc:spChg>
        <pc:spChg chg="mod">
          <ac:chgData name="Danielle Aronson" userId="d876df35-f8b5-4e2a-802a-50d87828d0e8" providerId="ADAL" clId="{69C5A2C8-7EE5-4412-BEAD-14E7B6B727BD}" dt="2020-04-22T14:32:43.312" v="595" actId="14100"/>
          <ac:spMkLst>
            <pc:docMk/>
            <pc:sldMk cId="1025530479" sldId="1802"/>
            <ac:spMk id="58" creationId="{BC8526D7-A32D-45E8-BFE1-3E39FB750699}"/>
          </ac:spMkLst>
        </pc:spChg>
        <pc:grpChg chg="mod">
          <ac:chgData name="Danielle Aronson" userId="d876df35-f8b5-4e2a-802a-50d87828d0e8" providerId="ADAL" clId="{69C5A2C8-7EE5-4412-BEAD-14E7B6B727BD}" dt="2020-04-22T14:32:32.578" v="594" actId="1076"/>
          <ac:grpSpMkLst>
            <pc:docMk/>
            <pc:sldMk cId="1025530479" sldId="1802"/>
            <ac:grpSpMk id="48" creationId="{DCB87C67-8A7F-47E9-AE93-3CB1629493FD}"/>
          </ac:grpSpMkLst>
        </pc:grpChg>
        <pc:cxnChg chg="mod">
          <ac:chgData name="Danielle Aronson" userId="d876df35-f8b5-4e2a-802a-50d87828d0e8" providerId="ADAL" clId="{69C5A2C8-7EE5-4412-BEAD-14E7B6B727BD}" dt="2020-04-22T14:32:20.750" v="592" actId="1076"/>
          <ac:cxnSpMkLst>
            <pc:docMk/>
            <pc:sldMk cId="1025530479" sldId="1802"/>
            <ac:cxnSpMk id="31" creationId="{6A8A19AD-970A-4571-8D10-2277B1C25273}"/>
          </ac:cxnSpMkLst>
        </pc:cxnChg>
      </pc:sldChg>
      <pc:sldChg chg="modSp mod">
        <pc:chgData name="Danielle Aronson" userId="d876df35-f8b5-4e2a-802a-50d87828d0e8" providerId="ADAL" clId="{69C5A2C8-7EE5-4412-BEAD-14E7B6B727BD}" dt="2020-04-22T14:30:44.016" v="590" actId="20577"/>
        <pc:sldMkLst>
          <pc:docMk/>
          <pc:sldMk cId="1980614029" sldId="1803"/>
        </pc:sldMkLst>
        <pc:spChg chg="mod">
          <ac:chgData name="Danielle Aronson" userId="d876df35-f8b5-4e2a-802a-50d87828d0e8" providerId="ADAL" clId="{69C5A2C8-7EE5-4412-BEAD-14E7B6B727BD}" dt="2020-04-22T14:28:50.282" v="480" actId="20577"/>
          <ac:spMkLst>
            <pc:docMk/>
            <pc:sldMk cId="1980614029" sldId="1803"/>
            <ac:spMk id="76" creationId="{51FB5F30-137A-4E59-8CCD-DC1143586705}"/>
          </ac:spMkLst>
        </pc:spChg>
        <pc:spChg chg="mod">
          <ac:chgData name="Danielle Aronson" userId="d876df35-f8b5-4e2a-802a-50d87828d0e8" providerId="ADAL" clId="{69C5A2C8-7EE5-4412-BEAD-14E7B6B727BD}" dt="2020-04-22T14:29:13.588" v="503" actId="20577"/>
          <ac:spMkLst>
            <pc:docMk/>
            <pc:sldMk cId="1980614029" sldId="1803"/>
            <ac:spMk id="80" creationId="{413161F1-F2CA-4F34-9BFF-CD3F2B4EEC5E}"/>
          </ac:spMkLst>
        </pc:spChg>
        <pc:spChg chg="mod">
          <ac:chgData name="Danielle Aronson" userId="d876df35-f8b5-4e2a-802a-50d87828d0e8" providerId="ADAL" clId="{69C5A2C8-7EE5-4412-BEAD-14E7B6B727BD}" dt="2020-04-22T14:30:44.016" v="590" actId="20577"/>
          <ac:spMkLst>
            <pc:docMk/>
            <pc:sldMk cId="1980614029" sldId="1803"/>
            <ac:spMk id="88" creationId="{7352E7A9-D089-4433-BBAE-11F68C270F82}"/>
          </ac:spMkLst>
        </pc:spChg>
        <pc:spChg chg="mod">
          <ac:chgData name="Danielle Aronson" userId="d876df35-f8b5-4e2a-802a-50d87828d0e8" providerId="ADAL" clId="{69C5A2C8-7EE5-4412-BEAD-14E7B6B727BD}" dt="2020-04-22T14:29:22.388" v="518" actId="20577"/>
          <ac:spMkLst>
            <pc:docMk/>
            <pc:sldMk cId="1980614029" sldId="1803"/>
            <ac:spMk id="100" creationId="{D5F23F49-7EF8-461E-9AC8-C6E3A7DA42EF}"/>
          </ac:spMkLst>
        </pc:spChg>
      </pc:sldChg>
      <pc:sldChg chg="addSp mod">
        <pc:chgData name="Danielle Aronson" userId="d876df35-f8b5-4e2a-802a-50d87828d0e8" providerId="ADAL" clId="{69C5A2C8-7EE5-4412-BEAD-14E7B6B727BD}" dt="2020-04-22T14:14:53.241" v="0" actId="22"/>
        <pc:sldMkLst>
          <pc:docMk/>
          <pc:sldMk cId="2809728893" sldId="10219"/>
        </pc:sldMkLst>
        <pc:spChg chg="add">
          <ac:chgData name="Danielle Aronson" userId="d876df35-f8b5-4e2a-802a-50d87828d0e8" providerId="ADAL" clId="{69C5A2C8-7EE5-4412-BEAD-14E7B6B727BD}" dt="2020-04-22T14:14:53.241" v="0" actId="22"/>
          <ac:spMkLst>
            <pc:docMk/>
            <pc:sldMk cId="2809728893" sldId="10219"/>
            <ac:spMk id="8" creationId="{241489BE-C426-4782-A327-915BB59915A0}"/>
          </ac:spMkLst>
        </pc:spChg>
      </pc:sldChg>
      <pc:sldChg chg="addSp modSp new mod ord modShow">
        <pc:chgData name="Danielle Aronson" userId="d876df35-f8b5-4e2a-802a-50d87828d0e8" providerId="ADAL" clId="{69C5A2C8-7EE5-4412-BEAD-14E7B6B727BD}" dt="2020-04-22T14:21:51.681" v="460" actId="6549"/>
        <pc:sldMkLst>
          <pc:docMk/>
          <pc:sldMk cId="3035781452" sldId="10221"/>
        </pc:sldMkLst>
        <pc:spChg chg="mod">
          <ac:chgData name="Danielle Aronson" userId="d876df35-f8b5-4e2a-802a-50d87828d0e8" providerId="ADAL" clId="{69C5A2C8-7EE5-4412-BEAD-14E7B6B727BD}" dt="2020-04-22T14:16:12.472" v="21" actId="20577"/>
          <ac:spMkLst>
            <pc:docMk/>
            <pc:sldMk cId="3035781452" sldId="10221"/>
            <ac:spMk id="2" creationId="{96B559A6-964B-420D-9F6A-97DC922E0218}"/>
          </ac:spMkLst>
        </pc:spChg>
        <pc:spChg chg="add mod">
          <ac:chgData name="Danielle Aronson" userId="d876df35-f8b5-4e2a-802a-50d87828d0e8" providerId="ADAL" clId="{69C5A2C8-7EE5-4412-BEAD-14E7B6B727BD}" dt="2020-04-22T14:21:51.681" v="460" actId="6549"/>
          <ac:spMkLst>
            <pc:docMk/>
            <pc:sldMk cId="3035781452" sldId="10221"/>
            <ac:spMk id="4" creationId="{7B289864-AC7F-48A9-B47C-0A085782E9CE}"/>
          </ac:spMkLst>
        </pc:spChg>
      </pc:sldChg>
      <pc:sldChg chg="addSp delSp modSp add mod">
        <pc:chgData name="Danielle Aronson" userId="d876df35-f8b5-4e2a-802a-50d87828d0e8" providerId="ADAL" clId="{69C5A2C8-7EE5-4412-BEAD-14E7B6B727BD}" dt="2020-04-22T14:20:36.016" v="437" actId="207"/>
        <pc:sldMkLst>
          <pc:docMk/>
          <pc:sldMk cId="3594944986" sldId="10222"/>
        </pc:sldMkLst>
        <pc:spChg chg="add mod">
          <ac:chgData name="Danielle Aronson" userId="d876df35-f8b5-4e2a-802a-50d87828d0e8" providerId="ADAL" clId="{69C5A2C8-7EE5-4412-BEAD-14E7B6B727BD}" dt="2020-04-22T14:20:36.016" v="437" actId="207"/>
          <ac:spMkLst>
            <pc:docMk/>
            <pc:sldMk cId="3594944986" sldId="10222"/>
            <ac:spMk id="3" creationId="{B70F2D08-7B38-4A9D-9520-4E95B51E9F3A}"/>
          </ac:spMkLst>
        </pc:spChg>
        <pc:spChg chg="del">
          <ac:chgData name="Danielle Aronson" userId="d876df35-f8b5-4e2a-802a-50d87828d0e8" providerId="ADAL" clId="{69C5A2C8-7EE5-4412-BEAD-14E7B6B727BD}" dt="2020-04-22T14:19:44.062" v="337" actId="478"/>
          <ac:spMkLst>
            <pc:docMk/>
            <pc:sldMk cId="3594944986" sldId="10222"/>
            <ac:spMk id="49" creationId="{ABE69A0C-BF05-431B-81D0-A9F03EA03E9D}"/>
          </ac:spMkLst>
        </pc:spChg>
        <pc:spChg chg="del">
          <ac:chgData name="Danielle Aronson" userId="d876df35-f8b5-4e2a-802a-50d87828d0e8" providerId="ADAL" clId="{69C5A2C8-7EE5-4412-BEAD-14E7B6B727BD}" dt="2020-04-22T14:19:44.062" v="337" actId="478"/>
          <ac:spMkLst>
            <pc:docMk/>
            <pc:sldMk cId="3594944986" sldId="10222"/>
            <ac:spMk id="57" creationId="{0818ABEE-2A99-4A4B-89BE-6324E84E9AE7}"/>
          </ac:spMkLst>
        </pc:spChg>
        <pc:spChg chg="del">
          <ac:chgData name="Danielle Aronson" userId="d876df35-f8b5-4e2a-802a-50d87828d0e8" providerId="ADAL" clId="{69C5A2C8-7EE5-4412-BEAD-14E7B6B727BD}" dt="2020-04-22T14:19:44.062" v="337" actId="478"/>
          <ac:spMkLst>
            <pc:docMk/>
            <pc:sldMk cId="3594944986" sldId="10222"/>
            <ac:spMk id="59" creationId="{18A9530C-4319-41D9-AEB7-6742958400F6}"/>
          </ac:spMkLst>
        </pc:spChg>
        <pc:spChg chg="del">
          <ac:chgData name="Danielle Aronson" userId="d876df35-f8b5-4e2a-802a-50d87828d0e8" providerId="ADAL" clId="{69C5A2C8-7EE5-4412-BEAD-14E7B6B727BD}" dt="2020-04-22T14:19:44.062" v="337" actId="478"/>
          <ac:spMkLst>
            <pc:docMk/>
            <pc:sldMk cId="3594944986" sldId="10222"/>
            <ac:spMk id="60" creationId="{F1333D46-E8C1-4812-8E97-3DAE1EE74A69}"/>
          </ac:spMkLst>
        </pc:spChg>
        <pc:spChg chg="del">
          <ac:chgData name="Danielle Aronson" userId="d876df35-f8b5-4e2a-802a-50d87828d0e8" providerId="ADAL" clId="{69C5A2C8-7EE5-4412-BEAD-14E7B6B727BD}" dt="2020-04-22T14:19:44.062" v="337" actId="478"/>
          <ac:spMkLst>
            <pc:docMk/>
            <pc:sldMk cId="3594944986" sldId="10222"/>
            <ac:spMk id="61" creationId="{481955F1-5E8E-476D-88FC-540BFD390395}"/>
          </ac:spMkLst>
        </pc:spChg>
        <pc:spChg chg="del">
          <ac:chgData name="Danielle Aronson" userId="d876df35-f8b5-4e2a-802a-50d87828d0e8" providerId="ADAL" clId="{69C5A2C8-7EE5-4412-BEAD-14E7B6B727BD}" dt="2020-04-22T14:19:44.062" v="337" actId="478"/>
          <ac:spMkLst>
            <pc:docMk/>
            <pc:sldMk cId="3594944986" sldId="10222"/>
            <ac:spMk id="63" creationId="{F540FE97-0D16-4420-AC38-6A51F2B4ECAD}"/>
          </ac:spMkLst>
        </pc:spChg>
        <pc:spChg chg="del">
          <ac:chgData name="Danielle Aronson" userId="d876df35-f8b5-4e2a-802a-50d87828d0e8" providerId="ADAL" clId="{69C5A2C8-7EE5-4412-BEAD-14E7B6B727BD}" dt="2020-04-22T14:19:44.062" v="337" actId="478"/>
          <ac:spMkLst>
            <pc:docMk/>
            <pc:sldMk cId="3594944986" sldId="10222"/>
            <ac:spMk id="64" creationId="{56281920-DFD4-4AD9-A9AA-BB9F3C2B5E60}"/>
          </ac:spMkLst>
        </pc:spChg>
        <pc:spChg chg="del">
          <ac:chgData name="Danielle Aronson" userId="d876df35-f8b5-4e2a-802a-50d87828d0e8" providerId="ADAL" clId="{69C5A2C8-7EE5-4412-BEAD-14E7B6B727BD}" dt="2020-04-22T14:19:44.062" v="337" actId="478"/>
          <ac:spMkLst>
            <pc:docMk/>
            <pc:sldMk cId="3594944986" sldId="10222"/>
            <ac:spMk id="74" creationId="{2E539D98-7F91-4084-8F1C-B9CBBEEB2A2D}"/>
          </ac:spMkLst>
        </pc:spChg>
        <pc:spChg chg="del">
          <ac:chgData name="Danielle Aronson" userId="d876df35-f8b5-4e2a-802a-50d87828d0e8" providerId="ADAL" clId="{69C5A2C8-7EE5-4412-BEAD-14E7B6B727BD}" dt="2020-04-22T14:19:44.062" v="337" actId="478"/>
          <ac:spMkLst>
            <pc:docMk/>
            <pc:sldMk cId="3594944986" sldId="10222"/>
            <ac:spMk id="76" creationId="{534D70B5-FE8F-4777-BC73-11E562C9E01F}"/>
          </ac:spMkLst>
        </pc:spChg>
        <pc:spChg chg="del">
          <ac:chgData name="Danielle Aronson" userId="d876df35-f8b5-4e2a-802a-50d87828d0e8" providerId="ADAL" clId="{69C5A2C8-7EE5-4412-BEAD-14E7B6B727BD}" dt="2020-04-22T14:19:44.062" v="337" actId="478"/>
          <ac:spMkLst>
            <pc:docMk/>
            <pc:sldMk cId="3594944986" sldId="10222"/>
            <ac:spMk id="79" creationId="{7E0F6DF2-070C-4755-A8E1-DB0D2A53F454}"/>
          </ac:spMkLst>
        </pc:spChg>
        <pc:spChg chg="del">
          <ac:chgData name="Danielle Aronson" userId="d876df35-f8b5-4e2a-802a-50d87828d0e8" providerId="ADAL" clId="{69C5A2C8-7EE5-4412-BEAD-14E7B6B727BD}" dt="2020-04-22T14:19:44.062" v="337" actId="478"/>
          <ac:spMkLst>
            <pc:docMk/>
            <pc:sldMk cId="3594944986" sldId="10222"/>
            <ac:spMk id="80" creationId="{00E91236-5F9F-4F21-A4CA-7F2995421485}"/>
          </ac:spMkLst>
        </pc:spChg>
        <pc:spChg chg="del">
          <ac:chgData name="Danielle Aronson" userId="d876df35-f8b5-4e2a-802a-50d87828d0e8" providerId="ADAL" clId="{69C5A2C8-7EE5-4412-BEAD-14E7B6B727BD}" dt="2020-04-22T14:19:44.062" v="337" actId="478"/>
          <ac:spMkLst>
            <pc:docMk/>
            <pc:sldMk cId="3594944986" sldId="10222"/>
            <ac:spMk id="81" creationId="{250AF44D-0E46-4276-BD14-D860C8898902}"/>
          </ac:spMkLst>
        </pc:spChg>
        <pc:grpChg chg="del">
          <ac:chgData name="Danielle Aronson" userId="d876df35-f8b5-4e2a-802a-50d87828d0e8" providerId="ADAL" clId="{69C5A2C8-7EE5-4412-BEAD-14E7B6B727BD}" dt="2020-04-22T14:19:44.062" v="337" actId="478"/>
          <ac:grpSpMkLst>
            <pc:docMk/>
            <pc:sldMk cId="3594944986" sldId="10222"/>
            <ac:grpSpMk id="15" creationId="{D2F74712-DC19-4CA0-8812-D5E5596EC803}"/>
          </ac:grpSpMkLst>
        </pc:grpChg>
        <pc:grpChg chg="del">
          <ac:chgData name="Danielle Aronson" userId="d876df35-f8b5-4e2a-802a-50d87828d0e8" providerId="ADAL" clId="{69C5A2C8-7EE5-4412-BEAD-14E7B6B727BD}" dt="2020-04-22T14:19:44.062" v="337" actId="478"/>
          <ac:grpSpMkLst>
            <pc:docMk/>
            <pc:sldMk cId="3594944986" sldId="10222"/>
            <ac:grpSpMk id="16" creationId="{8AA17D0D-A9A4-4E91-9628-C33110CFCFAD}"/>
          </ac:grpSpMkLst>
        </pc:grpChg>
        <pc:grpChg chg="del">
          <ac:chgData name="Danielle Aronson" userId="d876df35-f8b5-4e2a-802a-50d87828d0e8" providerId="ADAL" clId="{69C5A2C8-7EE5-4412-BEAD-14E7B6B727BD}" dt="2020-04-22T14:19:44.062" v="337" actId="478"/>
          <ac:grpSpMkLst>
            <pc:docMk/>
            <pc:sldMk cId="3594944986" sldId="10222"/>
            <ac:grpSpMk id="50" creationId="{B01B89F4-0658-4AC6-AAEC-851174C2226E}"/>
          </ac:grpSpMkLst>
        </pc:grpChg>
        <pc:cxnChg chg="del">
          <ac:chgData name="Danielle Aronson" userId="d876df35-f8b5-4e2a-802a-50d87828d0e8" providerId="ADAL" clId="{69C5A2C8-7EE5-4412-BEAD-14E7B6B727BD}" dt="2020-04-22T14:19:44.062" v="337" actId="478"/>
          <ac:cxnSpMkLst>
            <pc:docMk/>
            <pc:sldMk cId="3594944986" sldId="10222"/>
            <ac:cxnSpMk id="34" creationId="{F9484785-0F14-46AD-9F9C-CBB71A4B3F2B}"/>
          </ac:cxnSpMkLst>
        </pc:cxnChg>
        <pc:cxnChg chg="del">
          <ac:chgData name="Danielle Aronson" userId="d876df35-f8b5-4e2a-802a-50d87828d0e8" providerId="ADAL" clId="{69C5A2C8-7EE5-4412-BEAD-14E7B6B727BD}" dt="2020-04-22T14:19:44.062" v="337" actId="478"/>
          <ac:cxnSpMkLst>
            <pc:docMk/>
            <pc:sldMk cId="3594944986" sldId="10222"/>
            <ac:cxnSpMk id="35" creationId="{F19A3573-0AF1-4C7D-AB7F-FD6259474020}"/>
          </ac:cxnSpMkLst>
        </pc:cxnChg>
        <pc:cxnChg chg="del">
          <ac:chgData name="Danielle Aronson" userId="d876df35-f8b5-4e2a-802a-50d87828d0e8" providerId="ADAL" clId="{69C5A2C8-7EE5-4412-BEAD-14E7B6B727BD}" dt="2020-04-22T14:19:44.062" v="337" actId="478"/>
          <ac:cxnSpMkLst>
            <pc:docMk/>
            <pc:sldMk cId="3594944986" sldId="10222"/>
            <ac:cxnSpMk id="36" creationId="{C6CE09FB-3078-4216-843F-EE49D08A6C75}"/>
          </ac:cxnSpMkLst>
        </pc:cxnChg>
        <pc:cxnChg chg="del">
          <ac:chgData name="Danielle Aronson" userId="d876df35-f8b5-4e2a-802a-50d87828d0e8" providerId="ADAL" clId="{69C5A2C8-7EE5-4412-BEAD-14E7B6B727BD}" dt="2020-04-22T14:19:44.062" v="337" actId="478"/>
          <ac:cxnSpMkLst>
            <pc:docMk/>
            <pc:sldMk cId="3594944986" sldId="10222"/>
            <ac:cxnSpMk id="47" creationId="{C4D16116-9093-42ED-882F-BE89106F0824}"/>
          </ac:cxnSpMkLst>
        </pc:cxnChg>
      </pc:sldChg>
    </pc:docChg>
  </pc:docChgLst>
  <pc:docChgLst>
    <pc:chgData name="Roman Abylkhatov" userId="2e959579-b379-4599-8299-cd2bab77a390" providerId="ADAL" clId="{3598FBA1-59ED-4C59-A5B4-1D6E8AA8E020}"/>
    <pc:docChg chg="undo custSel addSld delSld modSld sldOrd modSection">
      <pc:chgData name="Roman Abylkhatov" userId="2e959579-b379-4599-8299-cd2bab77a390" providerId="ADAL" clId="{3598FBA1-59ED-4C59-A5B4-1D6E8AA8E020}" dt="2021-03-23T14:27:01.557" v="3096" actId="313"/>
      <pc:docMkLst>
        <pc:docMk/>
      </pc:docMkLst>
      <pc:sldChg chg="delSp modSp mod">
        <pc:chgData name="Roman Abylkhatov" userId="2e959579-b379-4599-8299-cd2bab77a390" providerId="ADAL" clId="{3598FBA1-59ED-4C59-A5B4-1D6E8AA8E020}" dt="2021-02-11T14:07:23.640" v="2065" actId="20577"/>
        <pc:sldMkLst>
          <pc:docMk/>
          <pc:sldMk cId="1094870920" sldId="1735"/>
        </pc:sldMkLst>
        <pc:spChg chg="mod">
          <ac:chgData name="Roman Abylkhatov" userId="2e959579-b379-4599-8299-cd2bab77a390" providerId="ADAL" clId="{3598FBA1-59ED-4C59-A5B4-1D6E8AA8E020}" dt="2021-02-11T14:06:23.486" v="2040" actId="6549"/>
          <ac:spMkLst>
            <pc:docMk/>
            <pc:sldMk cId="1094870920" sldId="1735"/>
            <ac:spMk id="65" creationId="{54341627-CD8C-4D9B-8381-28743BCFFBF1}"/>
          </ac:spMkLst>
        </pc:spChg>
        <pc:spChg chg="mod">
          <ac:chgData name="Roman Abylkhatov" userId="2e959579-b379-4599-8299-cd2bab77a390" providerId="ADAL" clId="{3598FBA1-59ED-4C59-A5B4-1D6E8AA8E020}" dt="2021-02-11T14:07:23.640" v="2065" actId="20577"/>
          <ac:spMkLst>
            <pc:docMk/>
            <pc:sldMk cId="1094870920" sldId="1735"/>
            <ac:spMk id="99" creationId="{FC4B0DC5-704F-4EF8-8C8D-57B005D97A11}"/>
          </ac:spMkLst>
        </pc:spChg>
        <pc:grpChg chg="del">
          <ac:chgData name="Roman Abylkhatov" userId="2e959579-b379-4599-8299-cd2bab77a390" providerId="ADAL" clId="{3598FBA1-59ED-4C59-A5B4-1D6E8AA8E020}" dt="2021-02-11T14:06:25.668" v="2041" actId="478"/>
          <ac:grpSpMkLst>
            <pc:docMk/>
            <pc:sldMk cId="1094870920" sldId="1735"/>
            <ac:grpSpMk id="64" creationId="{C25BF092-9D17-40D4-AEA1-85E84CD38EE6}"/>
          </ac:grpSpMkLst>
        </pc:grpChg>
        <pc:grpChg chg="mod">
          <ac:chgData name="Roman Abylkhatov" userId="2e959579-b379-4599-8299-cd2bab77a390" providerId="ADAL" clId="{3598FBA1-59ED-4C59-A5B4-1D6E8AA8E020}" dt="2021-02-11T14:06:58.779" v="2058" actId="1036"/>
          <ac:grpSpMkLst>
            <pc:docMk/>
            <pc:sldMk cId="1094870920" sldId="1735"/>
            <ac:grpSpMk id="69" creationId="{199D9518-4245-48DA-AFDC-44848BB4C33A}"/>
          </ac:grpSpMkLst>
        </pc:grpChg>
        <pc:grpChg chg="mod">
          <ac:chgData name="Roman Abylkhatov" userId="2e959579-b379-4599-8299-cd2bab77a390" providerId="ADAL" clId="{3598FBA1-59ED-4C59-A5B4-1D6E8AA8E020}" dt="2021-02-11T14:06:58.779" v="2058" actId="1036"/>
          <ac:grpSpMkLst>
            <pc:docMk/>
            <pc:sldMk cId="1094870920" sldId="1735"/>
            <ac:grpSpMk id="84" creationId="{95831B84-1C17-4A14-9584-93D7C92B4AC9}"/>
          </ac:grpSpMkLst>
        </pc:grpChg>
        <pc:grpChg chg="mod">
          <ac:chgData name="Roman Abylkhatov" userId="2e959579-b379-4599-8299-cd2bab77a390" providerId="ADAL" clId="{3598FBA1-59ED-4C59-A5B4-1D6E8AA8E020}" dt="2021-02-11T14:06:58.779" v="2058" actId="1036"/>
          <ac:grpSpMkLst>
            <pc:docMk/>
            <pc:sldMk cId="1094870920" sldId="1735"/>
            <ac:grpSpMk id="98" creationId="{AED3DC3C-2C35-484A-A44A-882CFB672503}"/>
          </ac:grpSpMkLst>
        </pc:grpChg>
        <pc:grpChg chg="mod">
          <ac:chgData name="Roman Abylkhatov" userId="2e959579-b379-4599-8299-cd2bab77a390" providerId="ADAL" clId="{3598FBA1-59ED-4C59-A5B4-1D6E8AA8E020}" dt="2021-02-11T14:06:58.779" v="2058" actId="1036"/>
          <ac:grpSpMkLst>
            <pc:docMk/>
            <pc:sldMk cId="1094870920" sldId="1735"/>
            <ac:grpSpMk id="108" creationId="{1968FCB1-4939-4B68-8DC9-516AB0B3F2DD}"/>
          </ac:grpSpMkLst>
        </pc:grpChg>
        <pc:grpChg chg="mod">
          <ac:chgData name="Roman Abylkhatov" userId="2e959579-b379-4599-8299-cd2bab77a390" providerId="ADAL" clId="{3598FBA1-59ED-4C59-A5B4-1D6E8AA8E020}" dt="2021-02-11T14:06:58.779" v="2058" actId="1036"/>
          <ac:grpSpMkLst>
            <pc:docMk/>
            <pc:sldMk cId="1094870920" sldId="1735"/>
            <ac:grpSpMk id="114" creationId="{38E6168B-17A2-40FF-90C7-264C19822952}"/>
          </ac:grpSpMkLst>
        </pc:grpChg>
        <pc:cxnChg chg="del">
          <ac:chgData name="Roman Abylkhatov" userId="2e959579-b379-4599-8299-cd2bab77a390" providerId="ADAL" clId="{3598FBA1-59ED-4C59-A5B4-1D6E8AA8E020}" dt="2021-02-11T14:06:30.715" v="2042" actId="478"/>
          <ac:cxnSpMkLst>
            <pc:docMk/>
            <pc:sldMk cId="1094870920" sldId="1735"/>
            <ac:cxnSpMk id="48" creationId="{7354E8F2-26A2-4CCA-89B8-65B9B53DA07B}"/>
          </ac:cxnSpMkLst>
        </pc:cxnChg>
        <pc:cxnChg chg="mod">
          <ac:chgData name="Roman Abylkhatov" userId="2e959579-b379-4599-8299-cd2bab77a390" providerId="ADAL" clId="{3598FBA1-59ED-4C59-A5B4-1D6E8AA8E020}" dt="2021-02-11T14:06:58.779" v="2058" actId="1036"/>
          <ac:cxnSpMkLst>
            <pc:docMk/>
            <pc:sldMk cId="1094870920" sldId="1735"/>
            <ac:cxnSpMk id="49" creationId="{F03F52E1-9D12-4CD8-9AFB-DF3694F8E8DF}"/>
          </ac:cxnSpMkLst>
        </pc:cxnChg>
        <pc:cxnChg chg="mod">
          <ac:chgData name="Roman Abylkhatov" userId="2e959579-b379-4599-8299-cd2bab77a390" providerId="ADAL" clId="{3598FBA1-59ED-4C59-A5B4-1D6E8AA8E020}" dt="2021-02-11T14:06:58.779" v="2058" actId="1036"/>
          <ac:cxnSpMkLst>
            <pc:docMk/>
            <pc:sldMk cId="1094870920" sldId="1735"/>
            <ac:cxnSpMk id="52" creationId="{721FE680-81D2-484D-B86E-D8BCF74079FD}"/>
          </ac:cxnSpMkLst>
        </pc:cxnChg>
        <pc:cxnChg chg="mod">
          <ac:chgData name="Roman Abylkhatov" userId="2e959579-b379-4599-8299-cd2bab77a390" providerId="ADAL" clId="{3598FBA1-59ED-4C59-A5B4-1D6E8AA8E020}" dt="2021-02-11T14:06:58.779" v="2058" actId="1036"/>
          <ac:cxnSpMkLst>
            <pc:docMk/>
            <pc:sldMk cId="1094870920" sldId="1735"/>
            <ac:cxnSpMk id="53" creationId="{76FF7EC1-B2EB-4DC5-B055-C580BB6B5166}"/>
          </ac:cxnSpMkLst>
        </pc:cxnChg>
        <pc:cxnChg chg="mod">
          <ac:chgData name="Roman Abylkhatov" userId="2e959579-b379-4599-8299-cd2bab77a390" providerId="ADAL" clId="{3598FBA1-59ED-4C59-A5B4-1D6E8AA8E020}" dt="2021-02-11T14:06:58.779" v="2058" actId="1036"/>
          <ac:cxnSpMkLst>
            <pc:docMk/>
            <pc:sldMk cId="1094870920" sldId="1735"/>
            <ac:cxnSpMk id="105" creationId="{659FEA74-C3DC-4508-BE4F-3AF4CD4B39B4}"/>
          </ac:cxnSpMkLst>
        </pc:cxnChg>
      </pc:sldChg>
      <pc:sldChg chg="modSp mod">
        <pc:chgData name="Roman Abylkhatov" userId="2e959579-b379-4599-8299-cd2bab77a390" providerId="ADAL" clId="{3598FBA1-59ED-4C59-A5B4-1D6E8AA8E020}" dt="2021-02-22T15:14:21.755" v="2390" actId="20577"/>
        <pc:sldMkLst>
          <pc:docMk/>
          <pc:sldMk cId="2345068032" sldId="1786"/>
        </pc:sldMkLst>
        <pc:spChg chg="mod">
          <ac:chgData name="Roman Abylkhatov" userId="2e959579-b379-4599-8299-cd2bab77a390" providerId="ADAL" clId="{3598FBA1-59ED-4C59-A5B4-1D6E8AA8E020}" dt="2021-02-04T14:05:08.275" v="667" actId="6549"/>
          <ac:spMkLst>
            <pc:docMk/>
            <pc:sldMk cId="2345068032" sldId="1786"/>
            <ac:spMk id="2" creationId="{45010FE8-BF09-4146-B084-66CB05B66FD9}"/>
          </ac:spMkLst>
        </pc:spChg>
        <pc:spChg chg="mod">
          <ac:chgData name="Roman Abylkhatov" userId="2e959579-b379-4599-8299-cd2bab77a390" providerId="ADAL" clId="{3598FBA1-59ED-4C59-A5B4-1D6E8AA8E020}" dt="2021-02-04T14:05:55.257" v="691" actId="20577"/>
          <ac:spMkLst>
            <pc:docMk/>
            <pc:sldMk cId="2345068032" sldId="1786"/>
            <ac:spMk id="11" creationId="{76583F2C-13BC-4FA8-A9DE-F1F764C38F10}"/>
          </ac:spMkLst>
        </pc:spChg>
        <pc:graphicFrameChg chg="mod modGraphic">
          <ac:chgData name="Roman Abylkhatov" userId="2e959579-b379-4599-8299-cd2bab77a390" providerId="ADAL" clId="{3598FBA1-59ED-4C59-A5B4-1D6E8AA8E020}" dt="2021-02-22T15:14:21.755" v="2390" actId="20577"/>
          <ac:graphicFrameMkLst>
            <pc:docMk/>
            <pc:sldMk cId="2345068032" sldId="1786"/>
            <ac:graphicFrameMk id="4" creationId="{9E04F86D-C834-4ACE-86A6-012EE8D90DEB}"/>
          </ac:graphicFrameMkLst>
        </pc:graphicFrameChg>
      </pc:sldChg>
      <pc:sldChg chg="del addCm">
        <pc:chgData name="Roman Abylkhatov" userId="2e959579-b379-4599-8299-cd2bab77a390" providerId="ADAL" clId="{3598FBA1-59ED-4C59-A5B4-1D6E8AA8E020}" dt="2021-02-04T14:13:14.561" v="837" actId="2696"/>
        <pc:sldMkLst>
          <pc:docMk/>
          <pc:sldMk cId="3071064459" sldId="1795"/>
        </pc:sldMkLst>
      </pc:sldChg>
      <pc:sldChg chg="del">
        <pc:chgData name="Roman Abylkhatov" userId="2e959579-b379-4599-8299-cd2bab77a390" providerId="ADAL" clId="{3598FBA1-59ED-4C59-A5B4-1D6E8AA8E020}" dt="2021-02-25T14:31:30.513" v="3078" actId="2696"/>
        <pc:sldMkLst>
          <pc:docMk/>
          <pc:sldMk cId="1304563117" sldId="3093"/>
        </pc:sldMkLst>
      </pc:sldChg>
      <pc:sldChg chg="addSp delSp modSp del mod">
        <pc:chgData name="Roman Abylkhatov" userId="2e959579-b379-4599-8299-cd2bab77a390" providerId="ADAL" clId="{3598FBA1-59ED-4C59-A5B4-1D6E8AA8E020}" dt="2021-02-04T14:10:20.159" v="760" actId="2696"/>
        <pc:sldMkLst>
          <pc:docMk/>
          <pc:sldMk cId="2356428871" sldId="3131"/>
        </pc:sldMkLst>
        <pc:spChg chg="mod">
          <ac:chgData name="Roman Abylkhatov" userId="2e959579-b379-4599-8299-cd2bab77a390" providerId="ADAL" clId="{3598FBA1-59ED-4C59-A5B4-1D6E8AA8E020}" dt="2021-02-01T09:04:14.740" v="663" actId="13926"/>
          <ac:spMkLst>
            <pc:docMk/>
            <pc:sldMk cId="2356428871" sldId="3131"/>
            <ac:spMk id="2" creationId="{45010FE8-BF09-4146-B084-66CB05B66FD9}"/>
          </ac:spMkLst>
        </pc:spChg>
        <pc:spChg chg="add mod">
          <ac:chgData name="Roman Abylkhatov" userId="2e959579-b379-4599-8299-cd2bab77a390" providerId="ADAL" clId="{3598FBA1-59ED-4C59-A5B4-1D6E8AA8E020}" dt="2021-01-28T14:45:55.821" v="572" actId="571"/>
          <ac:spMkLst>
            <pc:docMk/>
            <pc:sldMk cId="2356428871" sldId="3131"/>
            <ac:spMk id="3" creationId="{4227308A-4FE9-4C05-BB5D-16C9B8CF8C09}"/>
          </ac:spMkLst>
        </pc:spChg>
        <pc:spChg chg="add mod topLvl">
          <ac:chgData name="Roman Abylkhatov" userId="2e959579-b379-4599-8299-cd2bab77a390" providerId="ADAL" clId="{3598FBA1-59ED-4C59-A5B4-1D6E8AA8E020}" dt="2021-01-28T14:46:19.910" v="578" actId="165"/>
          <ac:spMkLst>
            <pc:docMk/>
            <pc:sldMk cId="2356428871" sldId="3131"/>
            <ac:spMk id="4" creationId="{AD877597-C58A-4F11-971F-738C8C342DDF}"/>
          </ac:spMkLst>
        </pc:spChg>
        <pc:spChg chg="add mod">
          <ac:chgData name="Roman Abylkhatov" userId="2e959579-b379-4599-8299-cd2bab77a390" providerId="ADAL" clId="{3598FBA1-59ED-4C59-A5B4-1D6E8AA8E020}" dt="2021-01-28T14:51:22.815" v="628" actId="20577"/>
          <ac:spMkLst>
            <pc:docMk/>
            <pc:sldMk cId="2356428871" sldId="3131"/>
            <ac:spMk id="5" creationId="{E5DC63EE-DBB0-49B8-A6C8-6875675C302B}"/>
          </ac:spMkLst>
        </pc:spChg>
        <pc:spChg chg="add del mod topLvl">
          <ac:chgData name="Roman Abylkhatov" userId="2e959579-b379-4599-8299-cd2bab77a390" providerId="ADAL" clId="{3598FBA1-59ED-4C59-A5B4-1D6E8AA8E020}" dt="2021-01-28T14:45:41.237" v="570" actId="478"/>
          <ac:spMkLst>
            <pc:docMk/>
            <pc:sldMk cId="2356428871" sldId="3131"/>
            <ac:spMk id="6" creationId="{0C400C65-E4D0-41D9-93F7-AC932CB1C30A}"/>
          </ac:spMkLst>
        </pc:spChg>
        <pc:spChg chg="del mod">
          <ac:chgData name="Roman Abylkhatov" userId="2e959579-b379-4599-8299-cd2bab77a390" providerId="ADAL" clId="{3598FBA1-59ED-4C59-A5B4-1D6E8AA8E020}" dt="2021-01-28T14:19:52.559" v="44" actId="478"/>
          <ac:spMkLst>
            <pc:docMk/>
            <pc:sldMk cId="2356428871" sldId="3131"/>
            <ac:spMk id="20" creationId="{9C4A0BF9-E23F-4CFA-BFB9-1923DF03340F}"/>
          </ac:spMkLst>
        </pc:spChg>
        <pc:spChg chg="add del mod topLvl">
          <ac:chgData name="Roman Abylkhatov" userId="2e959579-b379-4599-8299-cd2bab77a390" providerId="ADAL" clId="{3598FBA1-59ED-4C59-A5B4-1D6E8AA8E020}" dt="2021-01-28T14:44:14.233" v="561" actId="478"/>
          <ac:spMkLst>
            <pc:docMk/>
            <pc:sldMk cId="2356428871" sldId="3131"/>
            <ac:spMk id="30" creationId="{5A74064D-DD39-48F6-894C-9D44E1757055}"/>
          </ac:spMkLst>
        </pc:spChg>
        <pc:spChg chg="add mod topLvl">
          <ac:chgData name="Roman Abylkhatov" userId="2e959579-b379-4599-8299-cd2bab77a390" providerId="ADAL" clId="{3598FBA1-59ED-4C59-A5B4-1D6E8AA8E020}" dt="2021-01-28T14:51:29.977" v="630" actId="20577"/>
          <ac:spMkLst>
            <pc:docMk/>
            <pc:sldMk cId="2356428871" sldId="3131"/>
            <ac:spMk id="31" creationId="{A09AA2CA-4C58-4921-95C0-FB68D16FB9B7}"/>
          </ac:spMkLst>
        </pc:spChg>
        <pc:spChg chg="add mod">
          <ac:chgData name="Roman Abylkhatov" userId="2e959579-b379-4599-8299-cd2bab77a390" providerId="ADAL" clId="{3598FBA1-59ED-4C59-A5B4-1D6E8AA8E020}" dt="2021-01-28T14:45:55.821" v="572" actId="571"/>
          <ac:spMkLst>
            <pc:docMk/>
            <pc:sldMk cId="2356428871" sldId="3131"/>
            <ac:spMk id="32" creationId="{FB422637-BF0B-4F1A-A005-C1B3E5AC5DCF}"/>
          </ac:spMkLst>
        </pc:spChg>
        <pc:spChg chg="add mod topLvl">
          <ac:chgData name="Roman Abylkhatov" userId="2e959579-b379-4599-8299-cd2bab77a390" providerId="ADAL" clId="{3598FBA1-59ED-4C59-A5B4-1D6E8AA8E020}" dt="2021-01-28T14:51:34.421" v="633" actId="20577"/>
          <ac:spMkLst>
            <pc:docMk/>
            <pc:sldMk cId="2356428871" sldId="3131"/>
            <ac:spMk id="33" creationId="{F0C1CE1F-5742-4079-A4DA-DA19F30BA6F7}"/>
          </ac:spMkLst>
        </pc:spChg>
        <pc:spChg chg="mod topLvl">
          <ac:chgData name="Roman Abylkhatov" userId="2e959579-b379-4599-8299-cd2bab77a390" providerId="ADAL" clId="{3598FBA1-59ED-4C59-A5B4-1D6E8AA8E020}" dt="2021-01-28T14:49:40.615" v="595" actId="14100"/>
          <ac:spMkLst>
            <pc:docMk/>
            <pc:sldMk cId="2356428871" sldId="3131"/>
            <ac:spMk id="46" creationId="{423E3344-0D3E-40C6-A30D-D9146C16FFD2}"/>
          </ac:spMkLst>
        </pc:spChg>
        <pc:spChg chg="del mod topLvl">
          <ac:chgData name="Roman Abylkhatov" userId="2e959579-b379-4599-8299-cd2bab77a390" providerId="ADAL" clId="{3598FBA1-59ED-4C59-A5B4-1D6E8AA8E020}" dt="2021-01-28T14:44:12.667" v="560" actId="478"/>
          <ac:spMkLst>
            <pc:docMk/>
            <pc:sldMk cId="2356428871" sldId="3131"/>
            <ac:spMk id="47" creationId="{3153E1ED-F3FC-47BC-86FF-ABC256FF54B7}"/>
          </ac:spMkLst>
        </pc:spChg>
        <pc:grpChg chg="add del mod">
          <ac:chgData name="Roman Abylkhatov" userId="2e959579-b379-4599-8299-cd2bab77a390" providerId="ADAL" clId="{3598FBA1-59ED-4C59-A5B4-1D6E8AA8E020}" dt="2021-01-28T14:46:19.910" v="578" actId="165"/>
          <ac:grpSpMkLst>
            <pc:docMk/>
            <pc:sldMk cId="2356428871" sldId="3131"/>
            <ac:grpSpMk id="7" creationId="{4C904B1A-4607-431A-8CD3-A48C90561161}"/>
          </ac:grpSpMkLst>
        </pc:grpChg>
        <pc:grpChg chg="add del">
          <ac:chgData name="Roman Abylkhatov" userId="2e959579-b379-4599-8299-cd2bab77a390" providerId="ADAL" clId="{3598FBA1-59ED-4C59-A5B4-1D6E8AA8E020}" dt="2021-01-28T14:44:12.667" v="560" actId="478"/>
          <ac:grpSpMkLst>
            <pc:docMk/>
            <pc:sldMk cId="2356428871" sldId="3131"/>
            <ac:grpSpMk id="8" creationId="{FA0A9344-377C-4823-83EF-9D120CAE8A00}"/>
          </ac:grpSpMkLst>
        </pc:grpChg>
        <pc:grpChg chg="add mod">
          <ac:chgData name="Roman Abylkhatov" userId="2e959579-b379-4599-8299-cd2bab77a390" providerId="ADAL" clId="{3598FBA1-59ED-4C59-A5B4-1D6E8AA8E020}" dt="2021-01-28T14:49:57.043" v="597" actId="14100"/>
          <ac:grpSpMkLst>
            <pc:docMk/>
            <pc:sldMk cId="2356428871" sldId="3131"/>
            <ac:grpSpMk id="9" creationId="{F1AFCA7D-63E7-417D-998B-342F71F36AD8}"/>
          </ac:grpSpMkLst>
        </pc:grpChg>
        <pc:grpChg chg="add del mod">
          <ac:chgData name="Roman Abylkhatov" userId="2e959579-b379-4599-8299-cd2bab77a390" providerId="ADAL" clId="{3598FBA1-59ED-4C59-A5B4-1D6E8AA8E020}" dt="2021-01-28T14:44:47.264" v="564" actId="165"/>
          <ac:grpSpMkLst>
            <pc:docMk/>
            <pc:sldMk cId="2356428871" sldId="3131"/>
            <ac:grpSpMk id="10" creationId="{8DD89DFE-9C6D-4817-A36D-A8F171BC211F}"/>
          </ac:grpSpMkLst>
        </pc:grpChg>
        <pc:grpChg chg="add mod">
          <ac:chgData name="Roman Abylkhatov" userId="2e959579-b379-4599-8299-cd2bab77a390" providerId="ADAL" clId="{3598FBA1-59ED-4C59-A5B4-1D6E8AA8E020}" dt="2021-01-28T14:50:04.022" v="600" actId="1076"/>
          <ac:grpSpMkLst>
            <pc:docMk/>
            <pc:sldMk cId="2356428871" sldId="3131"/>
            <ac:grpSpMk id="11" creationId="{6504A98E-E14A-459E-A6D7-D40EC085CB99}"/>
          </ac:grpSpMkLst>
        </pc:grpChg>
        <pc:grpChg chg="add mod">
          <ac:chgData name="Roman Abylkhatov" userId="2e959579-b379-4599-8299-cd2bab77a390" providerId="ADAL" clId="{3598FBA1-59ED-4C59-A5B4-1D6E8AA8E020}" dt="2021-01-28T14:50:06.393" v="601" actId="1076"/>
          <ac:grpSpMkLst>
            <pc:docMk/>
            <pc:sldMk cId="2356428871" sldId="3131"/>
            <ac:grpSpMk id="12" creationId="{9DF4793B-AFEC-46EE-9F44-A21420608D69}"/>
          </ac:grpSpMkLst>
        </pc:grpChg>
        <pc:grpChg chg="del">
          <ac:chgData name="Roman Abylkhatov" userId="2e959579-b379-4599-8299-cd2bab77a390" providerId="ADAL" clId="{3598FBA1-59ED-4C59-A5B4-1D6E8AA8E020}" dt="2021-01-28T14:19:57.404" v="47" actId="478"/>
          <ac:grpSpMkLst>
            <pc:docMk/>
            <pc:sldMk cId="2356428871" sldId="3131"/>
            <ac:grpSpMk id="22" creationId="{B97C69AB-A6F8-4AC0-AE4C-B9139D91F759}"/>
          </ac:grpSpMkLst>
        </pc:grpChg>
        <pc:grpChg chg="del">
          <ac:chgData name="Roman Abylkhatov" userId="2e959579-b379-4599-8299-cd2bab77a390" providerId="ADAL" clId="{3598FBA1-59ED-4C59-A5B4-1D6E8AA8E020}" dt="2021-01-28T14:19:45.548" v="41" actId="478"/>
          <ac:grpSpMkLst>
            <pc:docMk/>
            <pc:sldMk cId="2356428871" sldId="3131"/>
            <ac:grpSpMk id="25" creationId="{68EA5DDC-E544-4F4D-AB26-DF041AFF16F8}"/>
          </ac:grpSpMkLst>
        </pc:grpChg>
        <pc:cxnChg chg="add del mod">
          <ac:chgData name="Roman Abylkhatov" userId="2e959579-b379-4599-8299-cd2bab77a390" providerId="ADAL" clId="{3598FBA1-59ED-4C59-A5B4-1D6E8AA8E020}" dt="2021-01-28T14:51:54.700" v="636" actId="1076"/>
          <ac:cxnSpMkLst>
            <pc:docMk/>
            <pc:sldMk cId="2356428871" sldId="3131"/>
            <ac:cxnSpMk id="16" creationId="{72837305-2ABA-4EB3-8826-E9F09C5A91A9}"/>
          </ac:cxnSpMkLst>
        </pc:cxnChg>
      </pc:sldChg>
      <pc:sldChg chg="modSp mod">
        <pc:chgData name="Roman Abylkhatov" userId="2e959579-b379-4599-8299-cd2bab77a390" providerId="ADAL" clId="{3598FBA1-59ED-4C59-A5B4-1D6E8AA8E020}" dt="2021-02-11T14:19:57.842" v="2324" actId="20577"/>
        <pc:sldMkLst>
          <pc:docMk/>
          <pc:sldMk cId="3300356148" sldId="10222"/>
        </pc:sldMkLst>
        <pc:spChg chg="mod">
          <ac:chgData name="Roman Abylkhatov" userId="2e959579-b379-4599-8299-cd2bab77a390" providerId="ADAL" clId="{3598FBA1-59ED-4C59-A5B4-1D6E8AA8E020}" dt="2021-01-28T15:00:46.820" v="658" actId="20577"/>
          <ac:spMkLst>
            <pc:docMk/>
            <pc:sldMk cId="3300356148" sldId="10222"/>
            <ac:spMk id="11" creationId="{E5BCFD79-ACCF-4415-ABDE-04E18E58FD42}"/>
          </ac:spMkLst>
        </pc:spChg>
        <pc:spChg chg="mod">
          <ac:chgData name="Roman Abylkhatov" userId="2e959579-b379-4599-8299-cd2bab77a390" providerId="ADAL" clId="{3598FBA1-59ED-4C59-A5B4-1D6E8AA8E020}" dt="2021-02-11T14:19:57.842" v="2324" actId="20577"/>
          <ac:spMkLst>
            <pc:docMk/>
            <pc:sldMk cId="3300356148" sldId="10222"/>
            <ac:spMk id="13" creationId="{5865844A-B378-4D24-B7F0-B5D3709F5455}"/>
          </ac:spMkLst>
        </pc:spChg>
      </pc:sldChg>
      <pc:sldChg chg="addSp delSp modSp mod modNotesTx">
        <pc:chgData name="Roman Abylkhatov" userId="2e959579-b379-4599-8299-cd2bab77a390" providerId="ADAL" clId="{3598FBA1-59ED-4C59-A5B4-1D6E8AA8E020}" dt="2021-03-23T14:27:01.557" v="3096" actId="313"/>
        <pc:sldMkLst>
          <pc:docMk/>
          <pc:sldMk cId="856216650" sldId="10223"/>
        </pc:sldMkLst>
        <pc:spChg chg="mod">
          <ac:chgData name="Roman Abylkhatov" userId="2e959579-b379-4599-8299-cd2bab77a390" providerId="ADAL" clId="{3598FBA1-59ED-4C59-A5B4-1D6E8AA8E020}" dt="2021-03-23T14:25:55.554" v="3083" actId="13926"/>
          <ac:spMkLst>
            <pc:docMk/>
            <pc:sldMk cId="856216650" sldId="10223"/>
            <ac:spMk id="2" creationId="{45010FE8-BF09-4146-B084-66CB05B66FD9}"/>
          </ac:spMkLst>
        </pc:spChg>
        <pc:spChg chg="mod">
          <ac:chgData name="Roman Abylkhatov" userId="2e959579-b379-4599-8299-cd2bab77a390" providerId="ADAL" clId="{3598FBA1-59ED-4C59-A5B4-1D6E8AA8E020}" dt="2021-03-23T14:25:59.458" v="3084" actId="13926"/>
          <ac:spMkLst>
            <pc:docMk/>
            <pc:sldMk cId="856216650" sldId="10223"/>
            <ac:spMk id="3" creationId="{4227308A-4FE9-4C05-BB5D-16C9B8CF8C09}"/>
          </ac:spMkLst>
        </pc:spChg>
        <pc:spChg chg="mod">
          <ac:chgData name="Roman Abylkhatov" userId="2e959579-b379-4599-8299-cd2bab77a390" providerId="ADAL" clId="{3598FBA1-59ED-4C59-A5B4-1D6E8AA8E020}" dt="2021-03-23T14:27:01.557" v="3096" actId="313"/>
          <ac:spMkLst>
            <pc:docMk/>
            <pc:sldMk cId="856216650" sldId="10223"/>
            <ac:spMk id="4" creationId="{AD877597-C58A-4F11-971F-738C8C342DDF}"/>
          </ac:spMkLst>
        </pc:spChg>
        <pc:spChg chg="mod">
          <ac:chgData name="Roman Abylkhatov" userId="2e959579-b379-4599-8299-cd2bab77a390" providerId="ADAL" clId="{3598FBA1-59ED-4C59-A5B4-1D6E8AA8E020}" dt="2021-03-23T14:26:14.177" v="3089" actId="13926"/>
          <ac:spMkLst>
            <pc:docMk/>
            <pc:sldMk cId="856216650" sldId="10223"/>
            <ac:spMk id="15" creationId="{4D635081-5C14-4453-98A4-27FF3E58A236}"/>
          </ac:spMkLst>
        </pc:spChg>
        <pc:spChg chg="mod">
          <ac:chgData name="Roman Abylkhatov" userId="2e959579-b379-4599-8299-cd2bab77a390" providerId="ADAL" clId="{3598FBA1-59ED-4C59-A5B4-1D6E8AA8E020}" dt="2021-02-04T14:10:04.715" v="758" actId="404"/>
          <ac:spMkLst>
            <pc:docMk/>
            <pc:sldMk cId="856216650" sldId="10223"/>
            <ac:spMk id="33" creationId="{F0C1CE1F-5742-4079-A4DA-DA19F30BA6F7}"/>
          </ac:spMkLst>
        </pc:spChg>
        <pc:spChg chg="mod">
          <ac:chgData name="Roman Abylkhatov" userId="2e959579-b379-4599-8299-cd2bab77a390" providerId="ADAL" clId="{3598FBA1-59ED-4C59-A5B4-1D6E8AA8E020}" dt="2021-03-23T14:26:05.691" v="3087" actId="13926"/>
          <ac:spMkLst>
            <pc:docMk/>
            <pc:sldMk cId="856216650" sldId="10223"/>
            <ac:spMk id="46" creationId="{423E3344-0D3E-40C6-A30D-D9146C16FFD2}"/>
          </ac:spMkLst>
        </pc:spChg>
        <pc:graphicFrameChg chg="add del mod">
          <ac:chgData name="Roman Abylkhatov" userId="2e959579-b379-4599-8299-cd2bab77a390" providerId="ADAL" clId="{3598FBA1-59ED-4C59-A5B4-1D6E8AA8E020}" dt="2021-02-04T14:17:47.284" v="841" actId="478"/>
          <ac:graphicFrameMkLst>
            <pc:docMk/>
            <pc:sldMk cId="856216650" sldId="10223"/>
            <ac:graphicFrameMk id="7" creationId="{CB1200E0-D5CC-427B-ACBE-79A30B4FD8C3}"/>
          </ac:graphicFrameMkLst>
        </pc:graphicFrameChg>
        <pc:graphicFrameChg chg="add del mod">
          <ac:chgData name="Roman Abylkhatov" userId="2e959579-b379-4599-8299-cd2bab77a390" providerId="ADAL" clId="{3598FBA1-59ED-4C59-A5B4-1D6E8AA8E020}" dt="2021-02-04T14:18:07.397" v="846" actId="478"/>
          <ac:graphicFrameMkLst>
            <pc:docMk/>
            <pc:sldMk cId="856216650" sldId="10223"/>
            <ac:graphicFrameMk id="8" creationId="{D0318A4A-01F1-4206-8BBD-444A2C21DD37}"/>
          </ac:graphicFrameMkLst>
        </pc:graphicFrameChg>
        <pc:graphicFrameChg chg="add del mod">
          <ac:chgData name="Roman Abylkhatov" userId="2e959579-b379-4599-8299-cd2bab77a390" providerId="ADAL" clId="{3598FBA1-59ED-4C59-A5B4-1D6E8AA8E020}" dt="2021-02-04T14:18:35.721" v="848" actId="478"/>
          <ac:graphicFrameMkLst>
            <pc:docMk/>
            <pc:sldMk cId="856216650" sldId="10223"/>
            <ac:graphicFrameMk id="10" creationId="{BB014BC2-584F-4A24-85C7-8004E03853A9}"/>
          </ac:graphicFrameMkLst>
        </pc:graphicFrameChg>
      </pc:sldChg>
      <pc:sldChg chg="modSp add del mod">
        <pc:chgData name="Roman Abylkhatov" userId="2e959579-b379-4599-8299-cd2bab77a390" providerId="ADAL" clId="{3598FBA1-59ED-4C59-A5B4-1D6E8AA8E020}" dt="2021-02-11T14:18:55.718" v="2305" actId="47"/>
        <pc:sldMkLst>
          <pc:docMk/>
          <pc:sldMk cId="2512657942" sldId="10224"/>
        </pc:sldMkLst>
        <pc:spChg chg="mod">
          <ac:chgData name="Roman Abylkhatov" userId="2e959579-b379-4599-8299-cd2bab77a390" providerId="ADAL" clId="{3598FBA1-59ED-4C59-A5B4-1D6E8AA8E020}" dt="2021-02-04T14:12:59.521" v="836" actId="33524"/>
          <ac:spMkLst>
            <pc:docMk/>
            <pc:sldMk cId="2512657942" sldId="10224"/>
            <ac:spMk id="6" creationId="{B42DDD8B-A225-4AEC-B7E5-73014FBF653C}"/>
          </ac:spMkLst>
        </pc:spChg>
        <pc:spChg chg="mod">
          <ac:chgData name="Roman Abylkhatov" userId="2e959579-b379-4599-8299-cd2bab77a390" providerId="ADAL" clId="{3598FBA1-59ED-4C59-A5B4-1D6E8AA8E020}" dt="2021-02-04T14:12:02.487" v="823" actId="20577"/>
          <ac:spMkLst>
            <pc:docMk/>
            <pc:sldMk cId="2512657942" sldId="10224"/>
            <ac:spMk id="33" creationId="{F0C1CE1F-5742-4079-A4DA-DA19F30BA6F7}"/>
          </ac:spMkLst>
        </pc:spChg>
      </pc:sldChg>
      <pc:sldChg chg="add del">
        <pc:chgData name="Roman Abylkhatov" userId="2e959579-b379-4599-8299-cd2bab77a390" providerId="ADAL" clId="{3598FBA1-59ED-4C59-A5B4-1D6E8AA8E020}" dt="2021-02-11T14:18:54.215" v="2304" actId="47"/>
        <pc:sldMkLst>
          <pc:docMk/>
          <pc:sldMk cId="2612348101" sldId="10225"/>
        </pc:sldMkLst>
      </pc:sldChg>
      <pc:sldChg chg="addSp delSp modSp new mod ord modNotesTx">
        <pc:chgData name="Roman Abylkhatov" userId="2e959579-b379-4599-8299-cd2bab77a390" providerId="ADAL" clId="{3598FBA1-59ED-4C59-A5B4-1D6E8AA8E020}" dt="2021-02-25T14:12:55.068" v="2462" actId="20577"/>
        <pc:sldMkLst>
          <pc:docMk/>
          <pc:sldMk cId="2744971081" sldId="10226"/>
        </pc:sldMkLst>
        <pc:spChg chg="mod">
          <ac:chgData name="Roman Abylkhatov" userId="2e959579-b379-4599-8299-cd2bab77a390" providerId="ADAL" clId="{3598FBA1-59ED-4C59-A5B4-1D6E8AA8E020}" dt="2021-02-04T14:19:10.451" v="872" actId="20577"/>
          <ac:spMkLst>
            <pc:docMk/>
            <pc:sldMk cId="2744971081" sldId="10226"/>
            <ac:spMk id="2" creationId="{CC40D7E0-D5FA-4A86-93CD-A73C19FDE61A}"/>
          </ac:spMkLst>
        </pc:spChg>
        <pc:spChg chg="add del mod">
          <ac:chgData name="Roman Abylkhatov" userId="2e959579-b379-4599-8299-cd2bab77a390" providerId="ADAL" clId="{3598FBA1-59ED-4C59-A5B4-1D6E8AA8E020}" dt="2021-02-04T14:19:35.665" v="880" actId="478"/>
          <ac:spMkLst>
            <pc:docMk/>
            <pc:sldMk cId="2744971081" sldId="10226"/>
            <ac:spMk id="3" creationId="{18F1A71A-148D-4051-B575-980F6CAA9737}"/>
          </ac:spMkLst>
        </pc:spChg>
        <pc:spChg chg="mod">
          <ac:chgData name="Roman Abylkhatov" userId="2e959579-b379-4599-8299-cd2bab77a390" providerId="ADAL" clId="{3598FBA1-59ED-4C59-A5B4-1D6E8AA8E020}" dt="2021-02-04T14:41:56.709" v="1337" actId="14100"/>
          <ac:spMkLst>
            <pc:docMk/>
            <pc:sldMk cId="2744971081" sldId="10226"/>
            <ac:spMk id="5" creationId="{DCACA0F7-D8FB-43C8-8DDC-B70EB0228F25}"/>
          </ac:spMkLst>
        </pc:spChg>
        <pc:spChg chg="mod">
          <ac:chgData name="Roman Abylkhatov" userId="2e959579-b379-4599-8299-cd2bab77a390" providerId="ADAL" clId="{3598FBA1-59ED-4C59-A5B4-1D6E8AA8E020}" dt="2021-02-04T14:19:43.031" v="881"/>
          <ac:spMkLst>
            <pc:docMk/>
            <pc:sldMk cId="2744971081" sldId="10226"/>
            <ac:spMk id="7" creationId="{980DCD9E-1565-480F-8834-1FCB8FB7778C}"/>
          </ac:spMkLst>
        </pc:spChg>
        <pc:spChg chg="mod">
          <ac:chgData name="Roman Abylkhatov" userId="2e959579-b379-4599-8299-cd2bab77a390" providerId="ADAL" clId="{3598FBA1-59ED-4C59-A5B4-1D6E8AA8E020}" dt="2021-02-04T14:19:43.031" v="881"/>
          <ac:spMkLst>
            <pc:docMk/>
            <pc:sldMk cId="2744971081" sldId="10226"/>
            <ac:spMk id="8" creationId="{65DC38E7-D6C8-4469-BB7C-74D5DA5F6A86}"/>
          </ac:spMkLst>
        </pc:spChg>
        <pc:spChg chg="del mod topLvl">
          <ac:chgData name="Roman Abylkhatov" userId="2e959579-b379-4599-8299-cd2bab77a390" providerId="ADAL" clId="{3598FBA1-59ED-4C59-A5B4-1D6E8AA8E020}" dt="2021-02-04T14:35:40.085" v="1254" actId="478"/>
          <ac:spMkLst>
            <pc:docMk/>
            <pc:sldMk cId="2744971081" sldId="10226"/>
            <ac:spMk id="10" creationId="{D3FEB681-4CD7-44E8-A20B-DCE7036A99FC}"/>
          </ac:spMkLst>
        </pc:spChg>
        <pc:spChg chg="mod">
          <ac:chgData name="Roman Abylkhatov" userId="2e959579-b379-4599-8299-cd2bab77a390" providerId="ADAL" clId="{3598FBA1-59ED-4C59-A5B4-1D6E8AA8E020}" dt="2021-02-04T14:22:43.066" v="969"/>
          <ac:spMkLst>
            <pc:docMk/>
            <pc:sldMk cId="2744971081" sldId="10226"/>
            <ac:spMk id="12" creationId="{8C52B951-A442-4BA9-A709-4398A7E1DB20}"/>
          </ac:spMkLst>
        </pc:spChg>
        <pc:spChg chg="mod">
          <ac:chgData name="Roman Abylkhatov" userId="2e959579-b379-4599-8299-cd2bab77a390" providerId="ADAL" clId="{3598FBA1-59ED-4C59-A5B4-1D6E8AA8E020}" dt="2021-02-04T14:22:43.066" v="969"/>
          <ac:spMkLst>
            <pc:docMk/>
            <pc:sldMk cId="2744971081" sldId="10226"/>
            <ac:spMk id="13" creationId="{C7F1CF0E-DF80-408B-97ED-81C638CD96DF}"/>
          </ac:spMkLst>
        </pc:spChg>
        <pc:spChg chg="mod">
          <ac:chgData name="Roman Abylkhatov" userId="2e959579-b379-4599-8299-cd2bab77a390" providerId="ADAL" clId="{3598FBA1-59ED-4C59-A5B4-1D6E8AA8E020}" dt="2021-02-04T14:41:52.769" v="1336" actId="14100"/>
          <ac:spMkLst>
            <pc:docMk/>
            <pc:sldMk cId="2744971081" sldId="10226"/>
            <ac:spMk id="15" creationId="{CBDE199F-738C-48F9-B2A1-07D56F822D7E}"/>
          </ac:spMkLst>
        </pc:spChg>
        <pc:spChg chg="mod">
          <ac:chgData name="Roman Abylkhatov" userId="2e959579-b379-4599-8299-cd2bab77a390" providerId="ADAL" clId="{3598FBA1-59ED-4C59-A5B4-1D6E8AA8E020}" dt="2021-02-04T14:24:32.429" v="1019"/>
          <ac:spMkLst>
            <pc:docMk/>
            <pc:sldMk cId="2744971081" sldId="10226"/>
            <ac:spMk id="17" creationId="{E2F1FDBB-D7C2-4066-81A0-81490BE00D94}"/>
          </ac:spMkLst>
        </pc:spChg>
        <pc:spChg chg="mod">
          <ac:chgData name="Roman Abylkhatov" userId="2e959579-b379-4599-8299-cd2bab77a390" providerId="ADAL" clId="{3598FBA1-59ED-4C59-A5B4-1D6E8AA8E020}" dt="2021-02-04T14:24:32.429" v="1019"/>
          <ac:spMkLst>
            <pc:docMk/>
            <pc:sldMk cId="2744971081" sldId="10226"/>
            <ac:spMk id="18" creationId="{A01E7263-0BFC-4A6C-B35E-F66DA3B777A1}"/>
          </ac:spMkLst>
        </pc:spChg>
        <pc:spChg chg="mod">
          <ac:chgData name="Roman Abylkhatov" userId="2e959579-b379-4599-8299-cd2bab77a390" providerId="ADAL" clId="{3598FBA1-59ED-4C59-A5B4-1D6E8AA8E020}" dt="2021-02-04T14:41:47.266" v="1335" actId="14100"/>
          <ac:spMkLst>
            <pc:docMk/>
            <pc:sldMk cId="2744971081" sldId="10226"/>
            <ac:spMk id="20" creationId="{A76BCD27-A91E-41A2-9AE0-9E606EDC08EC}"/>
          </ac:spMkLst>
        </pc:spChg>
        <pc:spChg chg="mod">
          <ac:chgData name="Roman Abylkhatov" userId="2e959579-b379-4599-8299-cd2bab77a390" providerId="ADAL" clId="{3598FBA1-59ED-4C59-A5B4-1D6E8AA8E020}" dt="2021-02-04T14:24:49.650" v="1031"/>
          <ac:spMkLst>
            <pc:docMk/>
            <pc:sldMk cId="2744971081" sldId="10226"/>
            <ac:spMk id="22" creationId="{9E0600C6-02CC-44C6-993F-A119D0FFBD98}"/>
          </ac:spMkLst>
        </pc:spChg>
        <pc:spChg chg="mod">
          <ac:chgData name="Roman Abylkhatov" userId="2e959579-b379-4599-8299-cd2bab77a390" providerId="ADAL" clId="{3598FBA1-59ED-4C59-A5B4-1D6E8AA8E020}" dt="2021-02-04T14:24:49.650" v="1031"/>
          <ac:spMkLst>
            <pc:docMk/>
            <pc:sldMk cId="2744971081" sldId="10226"/>
            <ac:spMk id="23" creationId="{25D287C0-19E5-462B-89A8-CC5EE45568D5}"/>
          </ac:spMkLst>
        </pc:spChg>
        <pc:spChg chg="add del mod">
          <ac:chgData name="Roman Abylkhatov" userId="2e959579-b379-4599-8299-cd2bab77a390" providerId="ADAL" clId="{3598FBA1-59ED-4C59-A5B4-1D6E8AA8E020}" dt="2021-02-04T14:40:36.549" v="1291" actId="478"/>
          <ac:spMkLst>
            <pc:docMk/>
            <pc:sldMk cId="2744971081" sldId="10226"/>
            <ac:spMk id="25" creationId="{0CB8671E-784C-43F4-85CF-4B9CC0905899}"/>
          </ac:spMkLst>
        </pc:spChg>
        <pc:spChg chg="add mod">
          <ac:chgData name="Roman Abylkhatov" userId="2e959579-b379-4599-8299-cd2bab77a390" providerId="ADAL" clId="{3598FBA1-59ED-4C59-A5B4-1D6E8AA8E020}" dt="2021-02-04T14:48:45.032" v="1528" actId="6549"/>
          <ac:spMkLst>
            <pc:docMk/>
            <pc:sldMk cId="2744971081" sldId="10226"/>
            <ac:spMk id="26" creationId="{663C5757-1699-4EEC-B106-3EDCEBC77B60}"/>
          </ac:spMkLst>
        </pc:spChg>
        <pc:spChg chg="add mod">
          <ac:chgData name="Roman Abylkhatov" userId="2e959579-b379-4599-8299-cd2bab77a390" providerId="ADAL" clId="{3598FBA1-59ED-4C59-A5B4-1D6E8AA8E020}" dt="2021-02-04T14:40:02.290" v="1279"/>
          <ac:spMkLst>
            <pc:docMk/>
            <pc:sldMk cId="2744971081" sldId="10226"/>
            <ac:spMk id="27" creationId="{DCE5A92F-C92B-4F66-874C-5662BB0FE97E}"/>
          </ac:spMkLst>
        </pc:spChg>
        <pc:spChg chg="mod">
          <ac:chgData name="Roman Abylkhatov" userId="2e959579-b379-4599-8299-cd2bab77a390" providerId="ADAL" clId="{3598FBA1-59ED-4C59-A5B4-1D6E8AA8E020}" dt="2021-02-04T14:40:02.290" v="1279"/>
          <ac:spMkLst>
            <pc:docMk/>
            <pc:sldMk cId="2744971081" sldId="10226"/>
            <ac:spMk id="30" creationId="{F6A2ECE2-C1EF-4E34-8665-A7902605E514}"/>
          </ac:spMkLst>
        </pc:spChg>
        <pc:spChg chg="mod">
          <ac:chgData name="Roman Abylkhatov" userId="2e959579-b379-4599-8299-cd2bab77a390" providerId="ADAL" clId="{3598FBA1-59ED-4C59-A5B4-1D6E8AA8E020}" dt="2021-02-04T14:40:02.290" v="1279"/>
          <ac:spMkLst>
            <pc:docMk/>
            <pc:sldMk cId="2744971081" sldId="10226"/>
            <ac:spMk id="31" creationId="{75C682D5-CC31-495A-A800-10CFE6264E1B}"/>
          </ac:spMkLst>
        </pc:spChg>
        <pc:spChg chg="mod">
          <ac:chgData name="Roman Abylkhatov" userId="2e959579-b379-4599-8299-cd2bab77a390" providerId="ADAL" clId="{3598FBA1-59ED-4C59-A5B4-1D6E8AA8E020}" dt="2021-02-04T14:40:02.290" v="1279"/>
          <ac:spMkLst>
            <pc:docMk/>
            <pc:sldMk cId="2744971081" sldId="10226"/>
            <ac:spMk id="32" creationId="{915036A0-D284-47F3-9C31-C1DF2429B9F2}"/>
          </ac:spMkLst>
        </pc:spChg>
        <pc:spChg chg="mod">
          <ac:chgData name="Roman Abylkhatov" userId="2e959579-b379-4599-8299-cd2bab77a390" providerId="ADAL" clId="{3598FBA1-59ED-4C59-A5B4-1D6E8AA8E020}" dt="2021-02-04T14:40:02.290" v="1279"/>
          <ac:spMkLst>
            <pc:docMk/>
            <pc:sldMk cId="2744971081" sldId="10226"/>
            <ac:spMk id="33" creationId="{570D7C7B-ECF0-4110-92CD-7480EA4A01C4}"/>
          </ac:spMkLst>
        </pc:spChg>
        <pc:spChg chg="mod">
          <ac:chgData name="Roman Abylkhatov" userId="2e959579-b379-4599-8299-cd2bab77a390" providerId="ADAL" clId="{3598FBA1-59ED-4C59-A5B4-1D6E8AA8E020}" dt="2021-02-04T14:40:02.290" v="1279"/>
          <ac:spMkLst>
            <pc:docMk/>
            <pc:sldMk cId="2744971081" sldId="10226"/>
            <ac:spMk id="34" creationId="{03F098B4-19BD-40AD-B27E-59F38CB2EA3F}"/>
          </ac:spMkLst>
        </pc:spChg>
        <pc:spChg chg="mod">
          <ac:chgData name="Roman Abylkhatov" userId="2e959579-b379-4599-8299-cd2bab77a390" providerId="ADAL" clId="{3598FBA1-59ED-4C59-A5B4-1D6E8AA8E020}" dt="2021-02-04T14:40:02.290" v="1279"/>
          <ac:spMkLst>
            <pc:docMk/>
            <pc:sldMk cId="2744971081" sldId="10226"/>
            <ac:spMk id="35" creationId="{7BB15BB9-4E62-4708-A508-3757EEEFF5D2}"/>
          </ac:spMkLst>
        </pc:spChg>
        <pc:spChg chg="mod">
          <ac:chgData name="Roman Abylkhatov" userId="2e959579-b379-4599-8299-cd2bab77a390" providerId="ADAL" clId="{3598FBA1-59ED-4C59-A5B4-1D6E8AA8E020}" dt="2021-02-04T14:48:26.375" v="1520" actId="20577"/>
          <ac:spMkLst>
            <pc:docMk/>
            <pc:sldMk cId="2744971081" sldId="10226"/>
            <ac:spMk id="39" creationId="{E5320018-A66E-49D1-8E50-32D3EBB61CB8}"/>
          </ac:spMkLst>
        </pc:spChg>
        <pc:spChg chg="mod">
          <ac:chgData name="Roman Abylkhatov" userId="2e959579-b379-4599-8299-cd2bab77a390" providerId="ADAL" clId="{3598FBA1-59ED-4C59-A5B4-1D6E8AA8E020}" dt="2021-02-04T14:45:31.404" v="1342"/>
          <ac:spMkLst>
            <pc:docMk/>
            <pc:sldMk cId="2744971081" sldId="10226"/>
            <ac:spMk id="41" creationId="{F1BDF2D6-0E5D-403A-9E43-BEE4486364D3}"/>
          </ac:spMkLst>
        </pc:spChg>
        <pc:spChg chg="mod">
          <ac:chgData name="Roman Abylkhatov" userId="2e959579-b379-4599-8299-cd2bab77a390" providerId="ADAL" clId="{3598FBA1-59ED-4C59-A5B4-1D6E8AA8E020}" dt="2021-02-04T14:45:31.404" v="1342"/>
          <ac:spMkLst>
            <pc:docMk/>
            <pc:sldMk cId="2744971081" sldId="10226"/>
            <ac:spMk id="42" creationId="{574C816B-4B98-4CCA-8ABF-EB122DB6E637}"/>
          </ac:spMkLst>
        </pc:spChg>
        <pc:spChg chg="mod">
          <ac:chgData name="Roman Abylkhatov" userId="2e959579-b379-4599-8299-cd2bab77a390" providerId="ADAL" clId="{3598FBA1-59ED-4C59-A5B4-1D6E8AA8E020}" dt="2021-02-04T14:48:29.736" v="1523" actId="20577"/>
          <ac:spMkLst>
            <pc:docMk/>
            <pc:sldMk cId="2744971081" sldId="10226"/>
            <ac:spMk id="44" creationId="{5E860710-747A-4001-8935-A914C88E7E60}"/>
          </ac:spMkLst>
        </pc:spChg>
        <pc:spChg chg="mod">
          <ac:chgData name="Roman Abylkhatov" userId="2e959579-b379-4599-8299-cd2bab77a390" providerId="ADAL" clId="{3598FBA1-59ED-4C59-A5B4-1D6E8AA8E020}" dt="2021-02-04T14:47:06.135" v="1423"/>
          <ac:spMkLst>
            <pc:docMk/>
            <pc:sldMk cId="2744971081" sldId="10226"/>
            <ac:spMk id="46" creationId="{353848C8-DF97-4DEC-B8C8-C4E1F9403338}"/>
          </ac:spMkLst>
        </pc:spChg>
        <pc:spChg chg="mod">
          <ac:chgData name="Roman Abylkhatov" userId="2e959579-b379-4599-8299-cd2bab77a390" providerId="ADAL" clId="{3598FBA1-59ED-4C59-A5B4-1D6E8AA8E020}" dt="2021-02-04T14:47:06.135" v="1423"/>
          <ac:spMkLst>
            <pc:docMk/>
            <pc:sldMk cId="2744971081" sldId="10226"/>
            <ac:spMk id="47" creationId="{9B2B3A3C-B681-48F8-8030-86924AEF7F7C}"/>
          </ac:spMkLst>
        </pc:spChg>
        <pc:spChg chg="mod">
          <ac:chgData name="Roman Abylkhatov" userId="2e959579-b379-4599-8299-cd2bab77a390" providerId="ADAL" clId="{3598FBA1-59ED-4C59-A5B4-1D6E8AA8E020}" dt="2021-02-25T14:12:24.006" v="2432"/>
          <ac:spMkLst>
            <pc:docMk/>
            <pc:sldMk cId="2744971081" sldId="10226"/>
            <ac:spMk id="49" creationId="{3DF022DA-B278-425B-9D81-E62B122B4177}"/>
          </ac:spMkLst>
        </pc:spChg>
        <pc:spChg chg="mod">
          <ac:chgData name="Roman Abylkhatov" userId="2e959579-b379-4599-8299-cd2bab77a390" providerId="ADAL" clId="{3598FBA1-59ED-4C59-A5B4-1D6E8AA8E020}" dt="2021-02-25T14:12:24.006" v="2432"/>
          <ac:spMkLst>
            <pc:docMk/>
            <pc:sldMk cId="2744971081" sldId="10226"/>
            <ac:spMk id="51" creationId="{6B1AF25B-FE86-40DB-8102-555A996BB3B5}"/>
          </ac:spMkLst>
        </pc:spChg>
        <pc:spChg chg="mod">
          <ac:chgData name="Roman Abylkhatov" userId="2e959579-b379-4599-8299-cd2bab77a390" providerId="ADAL" clId="{3598FBA1-59ED-4C59-A5B4-1D6E8AA8E020}" dt="2021-02-25T14:12:24.006" v="2432"/>
          <ac:spMkLst>
            <pc:docMk/>
            <pc:sldMk cId="2744971081" sldId="10226"/>
            <ac:spMk id="52" creationId="{EF848E85-B961-4106-8034-6A224833D239}"/>
          </ac:spMkLst>
        </pc:spChg>
        <pc:spChg chg="mod">
          <ac:chgData name="Roman Abylkhatov" userId="2e959579-b379-4599-8299-cd2bab77a390" providerId="ADAL" clId="{3598FBA1-59ED-4C59-A5B4-1D6E8AA8E020}" dt="2021-02-25T14:12:24.006" v="2432"/>
          <ac:spMkLst>
            <pc:docMk/>
            <pc:sldMk cId="2744971081" sldId="10226"/>
            <ac:spMk id="54" creationId="{3B1CC8F3-252A-453A-BE4E-C3EBE5C5CEB0}"/>
          </ac:spMkLst>
        </pc:spChg>
        <pc:spChg chg="mod">
          <ac:chgData name="Roman Abylkhatov" userId="2e959579-b379-4599-8299-cd2bab77a390" providerId="ADAL" clId="{3598FBA1-59ED-4C59-A5B4-1D6E8AA8E020}" dt="2021-02-25T14:12:24.006" v="2432"/>
          <ac:spMkLst>
            <pc:docMk/>
            <pc:sldMk cId="2744971081" sldId="10226"/>
            <ac:spMk id="56" creationId="{064D7EB5-B3D3-421A-964F-12B9EF482E5B}"/>
          </ac:spMkLst>
        </pc:spChg>
        <pc:spChg chg="mod">
          <ac:chgData name="Roman Abylkhatov" userId="2e959579-b379-4599-8299-cd2bab77a390" providerId="ADAL" clId="{3598FBA1-59ED-4C59-A5B4-1D6E8AA8E020}" dt="2021-02-25T14:12:24.006" v="2432"/>
          <ac:spMkLst>
            <pc:docMk/>
            <pc:sldMk cId="2744971081" sldId="10226"/>
            <ac:spMk id="57" creationId="{B1096FDF-6005-458E-AAE6-33C960DAABEB}"/>
          </ac:spMkLst>
        </pc:spChg>
        <pc:spChg chg="mod">
          <ac:chgData name="Roman Abylkhatov" userId="2e959579-b379-4599-8299-cd2bab77a390" providerId="ADAL" clId="{3598FBA1-59ED-4C59-A5B4-1D6E8AA8E020}" dt="2021-02-25T14:12:24.006" v="2432"/>
          <ac:spMkLst>
            <pc:docMk/>
            <pc:sldMk cId="2744971081" sldId="10226"/>
            <ac:spMk id="59" creationId="{017208ED-FE7E-466B-A1A6-5593960E5A38}"/>
          </ac:spMkLst>
        </pc:spChg>
        <pc:spChg chg="mod">
          <ac:chgData name="Roman Abylkhatov" userId="2e959579-b379-4599-8299-cd2bab77a390" providerId="ADAL" clId="{3598FBA1-59ED-4C59-A5B4-1D6E8AA8E020}" dt="2021-02-25T14:12:24.006" v="2432"/>
          <ac:spMkLst>
            <pc:docMk/>
            <pc:sldMk cId="2744971081" sldId="10226"/>
            <ac:spMk id="61" creationId="{0BFECBF1-01DE-4DE2-9740-F1F55E40DB27}"/>
          </ac:spMkLst>
        </pc:spChg>
        <pc:spChg chg="mod">
          <ac:chgData name="Roman Abylkhatov" userId="2e959579-b379-4599-8299-cd2bab77a390" providerId="ADAL" clId="{3598FBA1-59ED-4C59-A5B4-1D6E8AA8E020}" dt="2021-02-25T14:12:24.006" v="2432"/>
          <ac:spMkLst>
            <pc:docMk/>
            <pc:sldMk cId="2744971081" sldId="10226"/>
            <ac:spMk id="62" creationId="{EB5686B9-73E2-4391-8D01-B5AF121533CB}"/>
          </ac:spMkLst>
        </pc:spChg>
        <pc:spChg chg="mod">
          <ac:chgData name="Roman Abylkhatov" userId="2e959579-b379-4599-8299-cd2bab77a390" providerId="ADAL" clId="{3598FBA1-59ED-4C59-A5B4-1D6E8AA8E020}" dt="2021-02-25T14:12:24.006" v="2432"/>
          <ac:spMkLst>
            <pc:docMk/>
            <pc:sldMk cId="2744971081" sldId="10226"/>
            <ac:spMk id="64" creationId="{9E83BCAD-57E6-4A1A-9662-26AD140179AA}"/>
          </ac:spMkLst>
        </pc:spChg>
        <pc:spChg chg="mod">
          <ac:chgData name="Roman Abylkhatov" userId="2e959579-b379-4599-8299-cd2bab77a390" providerId="ADAL" clId="{3598FBA1-59ED-4C59-A5B4-1D6E8AA8E020}" dt="2021-02-25T14:12:24.006" v="2432"/>
          <ac:spMkLst>
            <pc:docMk/>
            <pc:sldMk cId="2744971081" sldId="10226"/>
            <ac:spMk id="66" creationId="{B21F0D3E-FAE8-469C-811B-661AF417AEB8}"/>
          </ac:spMkLst>
        </pc:spChg>
        <pc:spChg chg="mod">
          <ac:chgData name="Roman Abylkhatov" userId="2e959579-b379-4599-8299-cd2bab77a390" providerId="ADAL" clId="{3598FBA1-59ED-4C59-A5B4-1D6E8AA8E020}" dt="2021-02-25T14:12:24.006" v="2432"/>
          <ac:spMkLst>
            <pc:docMk/>
            <pc:sldMk cId="2744971081" sldId="10226"/>
            <ac:spMk id="67" creationId="{DCD35591-D181-44B6-90EA-D842DC68C45C}"/>
          </ac:spMkLst>
        </pc:spChg>
        <pc:spChg chg="mod">
          <ac:chgData name="Roman Abylkhatov" userId="2e959579-b379-4599-8299-cd2bab77a390" providerId="ADAL" clId="{3598FBA1-59ED-4C59-A5B4-1D6E8AA8E020}" dt="2021-02-25T14:12:24.006" v="2432"/>
          <ac:spMkLst>
            <pc:docMk/>
            <pc:sldMk cId="2744971081" sldId="10226"/>
            <ac:spMk id="69" creationId="{C9AA25CC-2F91-4DD9-9B89-9A8543BC1050}"/>
          </ac:spMkLst>
        </pc:spChg>
        <pc:spChg chg="mod">
          <ac:chgData name="Roman Abylkhatov" userId="2e959579-b379-4599-8299-cd2bab77a390" providerId="ADAL" clId="{3598FBA1-59ED-4C59-A5B4-1D6E8AA8E020}" dt="2021-02-25T14:12:24.006" v="2432"/>
          <ac:spMkLst>
            <pc:docMk/>
            <pc:sldMk cId="2744971081" sldId="10226"/>
            <ac:spMk id="71" creationId="{30804EB3-4123-479E-BBEE-627166182E7B}"/>
          </ac:spMkLst>
        </pc:spChg>
        <pc:spChg chg="mod">
          <ac:chgData name="Roman Abylkhatov" userId="2e959579-b379-4599-8299-cd2bab77a390" providerId="ADAL" clId="{3598FBA1-59ED-4C59-A5B4-1D6E8AA8E020}" dt="2021-02-25T14:12:24.006" v="2432"/>
          <ac:spMkLst>
            <pc:docMk/>
            <pc:sldMk cId="2744971081" sldId="10226"/>
            <ac:spMk id="72" creationId="{31849CF0-0FB2-4B3E-AC4B-BDE57E3FDA3D}"/>
          </ac:spMkLst>
        </pc:spChg>
        <pc:spChg chg="mod">
          <ac:chgData name="Roman Abylkhatov" userId="2e959579-b379-4599-8299-cd2bab77a390" providerId="ADAL" clId="{3598FBA1-59ED-4C59-A5B4-1D6E8AA8E020}" dt="2021-02-25T14:12:55.068" v="2462" actId="20577"/>
          <ac:spMkLst>
            <pc:docMk/>
            <pc:sldMk cId="2744971081" sldId="10226"/>
            <ac:spMk id="74" creationId="{D6DB623E-5BE1-4E5F-B54F-B6C5E9272ED0}"/>
          </ac:spMkLst>
        </pc:spChg>
        <pc:spChg chg="mod">
          <ac:chgData name="Roman Abylkhatov" userId="2e959579-b379-4599-8299-cd2bab77a390" providerId="ADAL" clId="{3598FBA1-59ED-4C59-A5B4-1D6E8AA8E020}" dt="2021-02-25T14:12:35.022" v="2434" actId="571"/>
          <ac:spMkLst>
            <pc:docMk/>
            <pc:sldMk cId="2744971081" sldId="10226"/>
            <ac:spMk id="76" creationId="{DB01C00E-AE4F-49C2-A687-73B65EB2938F}"/>
          </ac:spMkLst>
        </pc:spChg>
        <pc:spChg chg="mod">
          <ac:chgData name="Roman Abylkhatov" userId="2e959579-b379-4599-8299-cd2bab77a390" providerId="ADAL" clId="{3598FBA1-59ED-4C59-A5B4-1D6E8AA8E020}" dt="2021-02-25T14:12:35.022" v="2434" actId="571"/>
          <ac:spMkLst>
            <pc:docMk/>
            <pc:sldMk cId="2744971081" sldId="10226"/>
            <ac:spMk id="77" creationId="{058DB4EC-92E7-4C6C-92AB-2BAE995B1F52}"/>
          </ac:spMkLst>
        </pc:spChg>
        <pc:grpChg chg="add mod">
          <ac:chgData name="Roman Abylkhatov" userId="2e959579-b379-4599-8299-cd2bab77a390" providerId="ADAL" clId="{3598FBA1-59ED-4C59-A5B4-1D6E8AA8E020}" dt="2021-02-25T14:12:20.140" v="2431" actId="1035"/>
          <ac:grpSpMkLst>
            <pc:docMk/>
            <pc:sldMk cId="2744971081" sldId="10226"/>
            <ac:grpSpMk id="4" creationId="{2198C0BB-9516-4B5C-9E68-C156240CC915}"/>
          </ac:grpSpMkLst>
        </pc:grpChg>
        <pc:grpChg chg="mod">
          <ac:chgData name="Roman Abylkhatov" userId="2e959579-b379-4599-8299-cd2bab77a390" providerId="ADAL" clId="{3598FBA1-59ED-4C59-A5B4-1D6E8AA8E020}" dt="2021-02-04T14:19:43.031" v="881"/>
          <ac:grpSpMkLst>
            <pc:docMk/>
            <pc:sldMk cId="2744971081" sldId="10226"/>
            <ac:grpSpMk id="6" creationId="{CA703E1C-CB8D-4A0E-8619-2048FA9A9646}"/>
          </ac:grpSpMkLst>
        </pc:grpChg>
        <pc:grpChg chg="add del mod">
          <ac:chgData name="Roman Abylkhatov" userId="2e959579-b379-4599-8299-cd2bab77a390" providerId="ADAL" clId="{3598FBA1-59ED-4C59-A5B4-1D6E8AA8E020}" dt="2021-02-04T14:35:40.085" v="1254" actId="478"/>
          <ac:grpSpMkLst>
            <pc:docMk/>
            <pc:sldMk cId="2744971081" sldId="10226"/>
            <ac:grpSpMk id="9" creationId="{3E05843F-7AFF-48F8-A728-DE745E914A06}"/>
          </ac:grpSpMkLst>
        </pc:grpChg>
        <pc:grpChg chg="del mod topLvl">
          <ac:chgData name="Roman Abylkhatov" userId="2e959579-b379-4599-8299-cd2bab77a390" providerId="ADAL" clId="{3598FBA1-59ED-4C59-A5B4-1D6E8AA8E020}" dt="2021-02-04T14:35:42.437" v="1255" actId="478"/>
          <ac:grpSpMkLst>
            <pc:docMk/>
            <pc:sldMk cId="2744971081" sldId="10226"/>
            <ac:grpSpMk id="11" creationId="{72208912-1C2C-4AF2-A6D0-D22F025B1CFD}"/>
          </ac:grpSpMkLst>
        </pc:grpChg>
        <pc:grpChg chg="add mod">
          <ac:chgData name="Roman Abylkhatov" userId="2e959579-b379-4599-8299-cd2bab77a390" providerId="ADAL" clId="{3598FBA1-59ED-4C59-A5B4-1D6E8AA8E020}" dt="2021-02-25T14:12:20.140" v="2431" actId="1035"/>
          <ac:grpSpMkLst>
            <pc:docMk/>
            <pc:sldMk cId="2744971081" sldId="10226"/>
            <ac:grpSpMk id="14" creationId="{539AA6D0-2D2F-465A-8422-94D5CAB8CD89}"/>
          </ac:grpSpMkLst>
        </pc:grpChg>
        <pc:grpChg chg="mod">
          <ac:chgData name="Roman Abylkhatov" userId="2e959579-b379-4599-8299-cd2bab77a390" providerId="ADAL" clId="{3598FBA1-59ED-4C59-A5B4-1D6E8AA8E020}" dt="2021-02-04T14:24:32.429" v="1019"/>
          <ac:grpSpMkLst>
            <pc:docMk/>
            <pc:sldMk cId="2744971081" sldId="10226"/>
            <ac:grpSpMk id="16" creationId="{DB765834-44B4-4D59-B96A-4D07BD372023}"/>
          </ac:grpSpMkLst>
        </pc:grpChg>
        <pc:grpChg chg="add mod">
          <ac:chgData name="Roman Abylkhatov" userId="2e959579-b379-4599-8299-cd2bab77a390" providerId="ADAL" clId="{3598FBA1-59ED-4C59-A5B4-1D6E8AA8E020}" dt="2021-02-25T14:12:20.140" v="2431" actId="1035"/>
          <ac:grpSpMkLst>
            <pc:docMk/>
            <pc:sldMk cId="2744971081" sldId="10226"/>
            <ac:grpSpMk id="19" creationId="{72EB8C5C-B697-4A72-B004-8BB13B09543F}"/>
          </ac:grpSpMkLst>
        </pc:grpChg>
        <pc:grpChg chg="mod">
          <ac:chgData name="Roman Abylkhatov" userId="2e959579-b379-4599-8299-cd2bab77a390" providerId="ADAL" clId="{3598FBA1-59ED-4C59-A5B4-1D6E8AA8E020}" dt="2021-02-04T14:24:49.650" v="1031"/>
          <ac:grpSpMkLst>
            <pc:docMk/>
            <pc:sldMk cId="2744971081" sldId="10226"/>
            <ac:grpSpMk id="21" creationId="{5DC9501F-FA35-4CBA-820A-25888A78563D}"/>
          </ac:grpSpMkLst>
        </pc:grpChg>
        <pc:grpChg chg="add mod">
          <ac:chgData name="Roman Abylkhatov" userId="2e959579-b379-4599-8299-cd2bab77a390" providerId="ADAL" clId="{3598FBA1-59ED-4C59-A5B4-1D6E8AA8E020}" dt="2021-02-04T14:40:02.290" v="1279"/>
          <ac:grpSpMkLst>
            <pc:docMk/>
            <pc:sldMk cId="2744971081" sldId="10226"/>
            <ac:grpSpMk id="29" creationId="{8D250A39-0E81-43A6-AC4D-FC3740A5595A}"/>
          </ac:grpSpMkLst>
        </pc:grpChg>
        <pc:grpChg chg="add mod">
          <ac:chgData name="Roman Abylkhatov" userId="2e959579-b379-4599-8299-cd2bab77a390" providerId="ADAL" clId="{3598FBA1-59ED-4C59-A5B4-1D6E8AA8E020}" dt="2021-02-25T14:12:20.140" v="2431" actId="1035"/>
          <ac:grpSpMkLst>
            <pc:docMk/>
            <pc:sldMk cId="2744971081" sldId="10226"/>
            <ac:grpSpMk id="38" creationId="{A18C31A7-AD4B-4BE1-8AC5-ADCFF446E1DA}"/>
          </ac:grpSpMkLst>
        </pc:grpChg>
        <pc:grpChg chg="mod">
          <ac:chgData name="Roman Abylkhatov" userId="2e959579-b379-4599-8299-cd2bab77a390" providerId="ADAL" clId="{3598FBA1-59ED-4C59-A5B4-1D6E8AA8E020}" dt="2021-02-04T14:45:31.404" v="1342"/>
          <ac:grpSpMkLst>
            <pc:docMk/>
            <pc:sldMk cId="2744971081" sldId="10226"/>
            <ac:grpSpMk id="40" creationId="{FC462B02-7CD8-48DF-B448-363F78DD6D5A}"/>
          </ac:grpSpMkLst>
        </pc:grpChg>
        <pc:grpChg chg="add mod">
          <ac:chgData name="Roman Abylkhatov" userId="2e959579-b379-4599-8299-cd2bab77a390" providerId="ADAL" clId="{3598FBA1-59ED-4C59-A5B4-1D6E8AA8E020}" dt="2021-02-25T14:12:20.140" v="2431" actId="1035"/>
          <ac:grpSpMkLst>
            <pc:docMk/>
            <pc:sldMk cId="2744971081" sldId="10226"/>
            <ac:grpSpMk id="43" creationId="{97466D78-8CAC-4A75-8E32-811CF67024FD}"/>
          </ac:grpSpMkLst>
        </pc:grpChg>
        <pc:grpChg chg="mod">
          <ac:chgData name="Roman Abylkhatov" userId="2e959579-b379-4599-8299-cd2bab77a390" providerId="ADAL" clId="{3598FBA1-59ED-4C59-A5B4-1D6E8AA8E020}" dt="2021-02-04T14:47:06.135" v="1423"/>
          <ac:grpSpMkLst>
            <pc:docMk/>
            <pc:sldMk cId="2744971081" sldId="10226"/>
            <ac:grpSpMk id="45" creationId="{57EAAE2B-1B68-4BD9-9498-845ADE64CE64}"/>
          </ac:grpSpMkLst>
        </pc:grpChg>
        <pc:grpChg chg="add del mod">
          <ac:chgData name="Roman Abylkhatov" userId="2e959579-b379-4599-8299-cd2bab77a390" providerId="ADAL" clId="{3598FBA1-59ED-4C59-A5B4-1D6E8AA8E020}" dt="2021-02-25T14:12:24.933" v="2433"/>
          <ac:grpSpMkLst>
            <pc:docMk/>
            <pc:sldMk cId="2744971081" sldId="10226"/>
            <ac:grpSpMk id="48" creationId="{E892BE1F-598C-44C1-AC42-0FB2C16FF296}"/>
          </ac:grpSpMkLst>
        </pc:grpChg>
        <pc:grpChg chg="mod">
          <ac:chgData name="Roman Abylkhatov" userId="2e959579-b379-4599-8299-cd2bab77a390" providerId="ADAL" clId="{3598FBA1-59ED-4C59-A5B4-1D6E8AA8E020}" dt="2021-02-25T14:12:24.006" v="2432"/>
          <ac:grpSpMkLst>
            <pc:docMk/>
            <pc:sldMk cId="2744971081" sldId="10226"/>
            <ac:grpSpMk id="50" creationId="{E9107FA8-484D-459F-8B8F-831F842C3EBB}"/>
          </ac:grpSpMkLst>
        </pc:grpChg>
        <pc:grpChg chg="add del mod">
          <ac:chgData name="Roman Abylkhatov" userId="2e959579-b379-4599-8299-cd2bab77a390" providerId="ADAL" clId="{3598FBA1-59ED-4C59-A5B4-1D6E8AA8E020}" dt="2021-02-25T14:12:24.933" v="2433"/>
          <ac:grpSpMkLst>
            <pc:docMk/>
            <pc:sldMk cId="2744971081" sldId="10226"/>
            <ac:grpSpMk id="53" creationId="{9897BC95-C098-4087-850F-26C2957D932D}"/>
          </ac:grpSpMkLst>
        </pc:grpChg>
        <pc:grpChg chg="mod">
          <ac:chgData name="Roman Abylkhatov" userId="2e959579-b379-4599-8299-cd2bab77a390" providerId="ADAL" clId="{3598FBA1-59ED-4C59-A5B4-1D6E8AA8E020}" dt="2021-02-25T14:12:24.006" v="2432"/>
          <ac:grpSpMkLst>
            <pc:docMk/>
            <pc:sldMk cId="2744971081" sldId="10226"/>
            <ac:grpSpMk id="55" creationId="{D59E77FF-0807-48AD-AEE6-1AC3CADBD674}"/>
          </ac:grpSpMkLst>
        </pc:grpChg>
        <pc:grpChg chg="add del mod">
          <ac:chgData name="Roman Abylkhatov" userId="2e959579-b379-4599-8299-cd2bab77a390" providerId="ADAL" clId="{3598FBA1-59ED-4C59-A5B4-1D6E8AA8E020}" dt="2021-02-25T14:12:24.933" v="2433"/>
          <ac:grpSpMkLst>
            <pc:docMk/>
            <pc:sldMk cId="2744971081" sldId="10226"/>
            <ac:grpSpMk id="58" creationId="{8999AAC6-2EC3-4715-B36A-004EFC2B3F2E}"/>
          </ac:grpSpMkLst>
        </pc:grpChg>
        <pc:grpChg chg="mod">
          <ac:chgData name="Roman Abylkhatov" userId="2e959579-b379-4599-8299-cd2bab77a390" providerId="ADAL" clId="{3598FBA1-59ED-4C59-A5B4-1D6E8AA8E020}" dt="2021-02-25T14:12:24.006" v="2432"/>
          <ac:grpSpMkLst>
            <pc:docMk/>
            <pc:sldMk cId="2744971081" sldId="10226"/>
            <ac:grpSpMk id="60" creationId="{B895EC60-CAC8-4CC8-95F9-F2636C220239}"/>
          </ac:grpSpMkLst>
        </pc:grpChg>
        <pc:grpChg chg="add del mod">
          <ac:chgData name="Roman Abylkhatov" userId="2e959579-b379-4599-8299-cd2bab77a390" providerId="ADAL" clId="{3598FBA1-59ED-4C59-A5B4-1D6E8AA8E020}" dt="2021-02-25T14:12:24.933" v="2433"/>
          <ac:grpSpMkLst>
            <pc:docMk/>
            <pc:sldMk cId="2744971081" sldId="10226"/>
            <ac:grpSpMk id="63" creationId="{99C6CFA7-8DB1-4E4F-BA11-D5501E35E39D}"/>
          </ac:grpSpMkLst>
        </pc:grpChg>
        <pc:grpChg chg="mod">
          <ac:chgData name="Roman Abylkhatov" userId="2e959579-b379-4599-8299-cd2bab77a390" providerId="ADAL" clId="{3598FBA1-59ED-4C59-A5B4-1D6E8AA8E020}" dt="2021-02-25T14:12:24.006" v="2432"/>
          <ac:grpSpMkLst>
            <pc:docMk/>
            <pc:sldMk cId="2744971081" sldId="10226"/>
            <ac:grpSpMk id="65" creationId="{F294CE91-07C7-426F-B394-2D76C0214B25}"/>
          </ac:grpSpMkLst>
        </pc:grpChg>
        <pc:grpChg chg="add del mod">
          <ac:chgData name="Roman Abylkhatov" userId="2e959579-b379-4599-8299-cd2bab77a390" providerId="ADAL" clId="{3598FBA1-59ED-4C59-A5B4-1D6E8AA8E020}" dt="2021-02-25T14:12:24.933" v="2433"/>
          <ac:grpSpMkLst>
            <pc:docMk/>
            <pc:sldMk cId="2744971081" sldId="10226"/>
            <ac:grpSpMk id="68" creationId="{8D7242CB-70D6-4462-9C41-7B55EC827C42}"/>
          </ac:grpSpMkLst>
        </pc:grpChg>
        <pc:grpChg chg="mod">
          <ac:chgData name="Roman Abylkhatov" userId="2e959579-b379-4599-8299-cd2bab77a390" providerId="ADAL" clId="{3598FBA1-59ED-4C59-A5B4-1D6E8AA8E020}" dt="2021-02-25T14:12:24.006" v="2432"/>
          <ac:grpSpMkLst>
            <pc:docMk/>
            <pc:sldMk cId="2744971081" sldId="10226"/>
            <ac:grpSpMk id="70" creationId="{A05A4468-BE38-4EEE-93E6-C2283F06BF2B}"/>
          </ac:grpSpMkLst>
        </pc:grpChg>
        <pc:grpChg chg="add mod">
          <ac:chgData name="Roman Abylkhatov" userId="2e959579-b379-4599-8299-cd2bab77a390" providerId="ADAL" clId="{3598FBA1-59ED-4C59-A5B4-1D6E8AA8E020}" dt="2021-02-25T14:12:35.022" v="2434" actId="571"/>
          <ac:grpSpMkLst>
            <pc:docMk/>
            <pc:sldMk cId="2744971081" sldId="10226"/>
            <ac:grpSpMk id="73" creationId="{AEE11099-064A-431F-8AE0-CE84BAA66EA9}"/>
          </ac:grpSpMkLst>
        </pc:grpChg>
        <pc:grpChg chg="mod">
          <ac:chgData name="Roman Abylkhatov" userId="2e959579-b379-4599-8299-cd2bab77a390" providerId="ADAL" clId="{3598FBA1-59ED-4C59-A5B4-1D6E8AA8E020}" dt="2021-02-25T14:12:35.022" v="2434" actId="571"/>
          <ac:grpSpMkLst>
            <pc:docMk/>
            <pc:sldMk cId="2744971081" sldId="10226"/>
            <ac:grpSpMk id="75" creationId="{6122E3BF-6C82-477D-81D5-9765B2958484}"/>
          </ac:grpSpMkLst>
        </pc:grpChg>
        <pc:cxnChg chg="add mod">
          <ac:chgData name="Roman Abylkhatov" userId="2e959579-b379-4599-8299-cd2bab77a390" providerId="ADAL" clId="{3598FBA1-59ED-4C59-A5B4-1D6E8AA8E020}" dt="2021-02-04T14:40:22.183" v="1283" actId="14100"/>
          <ac:cxnSpMkLst>
            <pc:docMk/>
            <pc:sldMk cId="2744971081" sldId="10226"/>
            <ac:cxnSpMk id="28" creationId="{29C32889-46E6-46E1-BDDB-F4E1B89101CC}"/>
          </ac:cxnSpMkLst>
        </pc:cxnChg>
      </pc:sldChg>
      <pc:sldChg chg="modSp add mod">
        <pc:chgData name="Roman Abylkhatov" userId="2e959579-b379-4599-8299-cd2bab77a390" providerId="ADAL" clId="{3598FBA1-59ED-4C59-A5B4-1D6E8AA8E020}" dt="2021-03-23T14:26:59.310" v="3095" actId="313"/>
        <pc:sldMkLst>
          <pc:docMk/>
          <pc:sldMk cId="2351599916" sldId="10227"/>
        </pc:sldMkLst>
        <pc:spChg chg="mod">
          <ac:chgData name="Roman Abylkhatov" userId="2e959579-b379-4599-8299-cd2bab77a390" providerId="ADAL" clId="{3598FBA1-59ED-4C59-A5B4-1D6E8AA8E020}" dt="2021-03-23T14:26:59.310" v="3095" actId="313"/>
          <ac:spMkLst>
            <pc:docMk/>
            <pc:sldMk cId="2351599916" sldId="10227"/>
            <ac:spMk id="4" creationId="{AD877597-C58A-4F11-971F-738C8C342DDF}"/>
          </ac:spMkLst>
        </pc:spChg>
      </pc:sldChg>
      <pc:sldChg chg="add del">
        <pc:chgData name="Roman Abylkhatov" userId="2e959579-b379-4599-8299-cd2bab77a390" providerId="ADAL" clId="{3598FBA1-59ED-4C59-A5B4-1D6E8AA8E020}" dt="2021-03-23T14:26:37.088" v="3093" actId="47"/>
        <pc:sldMkLst>
          <pc:docMk/>
          <pc:sldMk cId="1536065476" sldId="10228"/>
        </pc:sldMkLst>
      </pc:sldChg>
      <pc:sldChg chg="new del">
        <pc:chgData name="Roman Abylkhatov" userId="2e959579-b379-4599-8299-cd2bab77a390" providerId="ADAL" clId="{3598FBA1-59ED-4C59-A5B4-1D6E8AA8E020}" dt="2021-02-25T14:15:10.981" v="2464" actId="680"/>
        <pc:sldMkLst>
          <pc:docMk/>
          <pc:sldMk cId="2154184960" sldId="10229"/>
        </pc:sldMkLst>
      </pc:sldChg>
      <pc:sldChg chg="addSp delSp modSp add mod ord">
        <pc:chgData name="Roman Abylkhatov" userId="2e959579-b379-4599-8299-cd2bab77a390" providerId="ADAL" clId="{3598FBA1-59ED-4C59-A5B4-1D6E8AA8E020}" dt="2021-02-25T14:32:21.261" v="3082" actId="1076"/>
        <pc:sldMkLst>
          <pc:docMk/>
          <pc:sldMk cId="3311876511" sldId="10229"/>
        </pc:sldMkLst>
        <pc:spChg chg="mod">
          <ac:chgData name="Roman Abylkhatov" userId="2e959579-b379-4599-8299-cd2bab77a390" providerId="ADAL" clId="{3598FBA1-59ED-4C59-A5B4-1D6E8AA8E020}" dt="2021-02-25T14:17:58.680" v="2560" actId="20577"/>
          <ac:spMkLst>
            <pc:docMk/>
            <pc:sldMk cId="3311876511" sldId="10229"/>
            <ac:spMk id="2" creationId="{CC40D7E0-D5FA-4A86-93CD-A73C19FDE61A}"/>
          </ac:spMkLst>
        </pc:spChg>
        <pc:spChg chg="mod">
          <ac:chgData name="Roman Abylkhatov" userId="2e959579-b379-4599-8299-cd2bab77a390" providerId="ADAL" clId="{3598FBA1-59ED-4C59-A5B4-1D6E8AA8E020}" dt="2021-02-25T14:25:16.985" v="2975" actId="20577"/>
          <ac:spMkLst>
            <pc:docMk/>
            <pc:sldMk cId="3311876511" sldId="10229"/>
            <ac:spMk id="5" creationId="{DCACA0F7-D8FB-43C8-8DDC-B70EB0228F25}"/>
          </ac:spMkLst>
        </pc:spChg>
        <pc:spChg chg="mod">
          <ac:chgData name="Roman Abylkhatov" userId="2e959579-b379-4599-8299-cd2bab77a390" providerId="ADAL" clId="{3598FBA1-59ED-4C59-A5B4-1D6E8AA8E020}" dt="2021-02-25T14:28:00.441" v="2982"/>
          <ac:spMkLst>
            <pc:docMk/>
            <pc:sldMk cId="3311876511" sldId="10229"/>
            <ac:spMk id="15" creationId="{CBDE199F-738C-48F9-B2A1-07D56F822D7E}"/>
          </ac:spMkLst>
        </pc:spChg>
        <pc:spChg chg="mod">
          <ac:chgData name="Roman Abylkhatov" userId="2e959579-b379-4599-8299-cd2bab77a390" providerId="ADAL" clId="{3598FBA1-59ED-4C59-A5B4-1D6E8AA8E020}" dt="2021-02-25T14:28:38.652" v="2985"/>
          <ac:spMkLst>
            <pc:docMk/>
            <pc:sldMk cId="3311876511" sldId="10229"/>
            <ac:spMk id="20" creationId="{A76BCD27-A91E-41A2-9AE0-9E606EDC08EC}"/>
          </ac:spMkLst>
        </pc:spChg>
        <pc:spChg chg="mod">
          <ac:chgData name="Roman Abylkhatov" userId="2e959579-b379-4599-8299-cd2bab77a390" providerId="ADAL" clId="{3598FBA1-59ED-4C59-A5B4-1D6E8AA8E020}" dt="2021-02-25T14:18:08.517" v="2598" actId="20577"/>
          <ac:spMkLst>
            <pc:docMk/>
            <pc:sldMk cId="3311876511" sldId="10229"/>
            <ac:spMk id="26" creationId="{663C5757-1699-4EEC-B106-3EDCEBC77B60}"/>
          </ac:spMkLst>
        </pc:spChg>
        <pc:spChg chg="mod">
          <ac:chgData name="Roman Abylkhatov" userId="2e959579-b379-4599-8299-cd2bab77a390" providerId="ADAL" clId="{3598FBA1-59ED-4C59-A5B4-1D6E8AA8E020}" dt="2021-02-25T14:32:21.261" v="3082" actId="1076"/>
          <ac:spMkLst>
            <pc:docMk/>
            <pc:sldMk cId="3311876511" sldId="10229"/>
            <ac:spMk id="35" creationId="{7BB15BB9-4E62-4708-A508-3757EEEFF5D2}"/>
          </ac:spMkLst>
        </pc:spChg>
        <pc:spChg chg="mod">
          <ac:chgData name="Roman Abylkhatov" userId="2e959579-b379-4599-8299-cd2bab77a390" providerId="ADAL" clId="{3598FBA1-59ED-4C59-A5B4-1D6E8AA8E020}" dt="2021-02-25T14:29:08.832" v="3010" actId="20577"/>
          <ac:spMkLst>
            <pc:docMk/>
            <pc:sldMk cId="3311876511" sldId="10229"/>
            <ac:spMk id="39" creationId="{E5320018-A66E-49D1-8E50-32D3EBB61CB8}"/>
          </ac:spMkLst>
        </pc:spChg>
        <pc:spChg chg="mod">
          <ac:chgData name="Roman Abylkhatov" userId="2e959579-b379-4599-8299-cd2bab77a390" providerId="ADAL" clId="{3598FBA1-59ED-4C59-A5B4-1D6E8AA8E020}" dt="2021-02-25T14:20:05.045" v="2609" actId="6549"/>
          <ac:spMkLst>
            <pc:docMk/>
            <pc:sldMk cId="3311876511" sldId="10229"/>
            <ac:spMk id="44" creationId="{5E860710-747A-4001-8935-A914C88E7E60}"/>
          </ac:spMkLst>
        </pc:spChg>
        <pc:spChg chg="mod">
          <ac:chgData name="Roman Abylkhatov" userId="2e959579-b379-4599-8299-cd2bab77a390" providerId="ADAL" clId="{3598FBA1-59ED-4C59-A5B4-1D6E8AA8E020}" dt="2021-02-25T14:30:29.580" v="3039" actId="571"/>
          <ac:spMkLst>
            <pc:docMk/>
            <pc:sldMk cId="3311876511" sldId="10229"/>
            <ac:spMk id="49" creationId="{40ED6E64-A842-4DD2-9374-2334D10972C2}"/>
          </ac:spMkLst>
        </pc:spChg>
        <pc:spChg chg="mod">
          <ac:chgData name="Roman Abylkhatov" userId="2e959579-b379-4599-8299-cd2bab77a390" providerId="ADAL" clId="{3598FBA1-59ED-4C59-A5B4-1D6E8AA8E020}" dt="2021-02-25T14:30:29.580" v="3039" actId="571"/>
          <ac:spMkLst>
            <pc:docMk/>
            <pc:sldMk cId="3311876511" sldId="10229"/>
            <ac:spMk id="51" creationId="{7EA13AFA-87D5-4789-884C-289ECC39D9FC}"/>
          </ac:spMkLst>
        </pc:spChg>
        <pc:spChg chg="mod">
          <ac:chgData name="Roman Abylkhatov" userId="2e959579-b379-4599-8299-cd2bab77a390" providerId="ADAL" clId="{3598FBA1-59ED-4C59-A5B4-1D6E8AA8E020}" dt="2021-02-25T14:30:29.580" v="3039" actId="571"/>
          <ac:spMkLst>
            <pc:docMk/>
            <pc:sldMk cId="3311876511" sldId="10229"/>
            <ac:spMk id="52" creationId="{2C33448C-5EAC-4949-860C-DEDB991D4812}"/>
          </ac:spMkLst>
        </pc:spChg>
        <pc:spChg chg="mod">
          <ac:chgData name="Roman Abylkhatov" userId="2e959579-b379-4599-8299-cd2bab77a390" providerId="ADAL" clId="{3598FBA1-59ED-4C59-A5B4-1D6E8AA8E020}" dt="2021-02-25T14:30:29.580" v="3039" actId="571"/>
          <ac:spMkLst>
            <pc:docMk/>
            <pc:sldMk cId="3311876511" sldId="10229"/>
            <ac:spMk id="54" creationId="{82AFD60F-80FA-4987-BD93-2A6EAB2D9DF3}"/>
          </ac:spMkLst>
        </pc:spChg>
        <pc:spChg chg="mod">
          <ac:chgData name="Roman Abylkhatov" userId="2e959579-b379-4599-8299-cd2bab77a390" providerId="ADAL" clId="{3598FBA1-59ED-4C59-A5B4-1D6E8AA8E020}" dt="2021-02-25T14:30:29.580" v="3039" actId="571"/>
          <ac:spMkLst>
            <pc:docMk/>
            <pc:sldMk cId="3311876511" sldId="10229"/>
            <ac:spMk id="56" creationId="{8B396F9D-5152-4B32-A59C-02C1FA2BAFF5}"/>
          </ac:spMkLst>
        </pc:spChg>
        <pc:spChg chg="mod">
          <ac:chgData name="Roman Abylkhatov" userId="2e959579-b379-4599-8299-cd2bab77a390" providerId="ADAL" clId="{3598FBA1-59ED-4C59-A5B4-1D6E8AA8E020}" dt="2021-02-25T14:30:29.580" v="3039" actId="571"/>
          <ac:spMkLst>
            <pc:docMk/>
            <pc:sldMk cId="3311876511" sldId="10229"/>
            <ac:spMk id="57" creationId="{F9497B12-A641-4E76-909C-2436CBBC730F}"/>
          </ac:spMkLst>
        </pc:spChg>
        <pc:spChg chg="mod">
          <ac:chgData name="Roman Abylkhatov" userId="2e959579-b379-4599-8299-cd2bab77a390" providerId="ADAL" clId="{3598FBA1-59ED-4C59-A5B4-1D6E8AA8E020}" dt="2021-02-25T14:31:11.541" v="3077" actId="20577"/>
          <ac:spMkLst>
            <pc:docMk/>
            <pc:sldMk cId="3311876511" sldId="10229"/>
            <ac:spMk id="74" creationId="{D6DB623E-5BE1-4E5F-B54F-B6C5E9272ED0}"/>
          </ac:spMkLst>
        </pc:spChg>
        <pc:grpChg chg="del mod">
          <ac:chgData name="Roman Abylkhatov" userId="2e959579-b379-4599-8299-cd2bab77a390" providerId="ADAL" clId="{3598FBA1-59ED-4C59-A5B4-1D6E8AA8E020}" dt="2021-02-25T14:30:11.799" v="3017" actId="478"/>
          <ac:grpSpMkLst>
            <pc:docMk/>
            <pc:sldMk cId="3311876511" sldId="10229"/>
            <ac:grpSpMk id="4" creationId="{2198C0BB-9516-4B5C-9E68-C156240CC915}"/>
          </ac:grpSpMkLst>
        </pc:grpChg>
        <pc:grpChg chg="mod">
          <ac:chgData name="Roman Abylkhatov" userId="2e959579-b379-4599-8299-cd2bab77a390" providerId="ADAL" clId="{3598FBA1-59ED-4C59-A5B4-1D6E8AA8E020}" dt="2021-02-25T14:31:04.023" v="3076" actId="1036"/>
          <ac:grpSpMkLst>
            <pc:docMk/>
            <pc:sldMk cId="3311876511" sldId="10229"/>
            <ac:grpSpMk id="14" creationId="{539AA6D0-2D2F-465A-8422-94D5CAB8CD89}"/>
          </ac:grpSpMkLst>
        </pc:grpChg>
        <pc:grpChg chg="mod">
          <ac:chgData name="Roman Abylkhatov" userId="2e959579-b379-4599-8299-cd2bab77a390" providerId="ADAL" clId="{3598FBA1-59ED-4C59-A5B4-1D6E8AA8E020}" dt="2021-02-25T14:31:04.023" v="3076" actId="1036"/>
          <ac:grpSpMkLst>
            <pc:docMk/>
            <pc:sldMk cId="3311876511" sldId="10229"/>
            <ac:grpSpMk id="19" creationId="{72EB8C5C-B697-4A72-B004-8BB13B09543F}"/>
          </ac:grpSpMkLst>
        </pc:grpChg>
        <pc:grpChg chg="mod">
          <ac:chgData name="Roman Abylkhatov" userId="2e959579-b379-4599-8299-cd2bab77a390" providerId="ADAL" clId="{3598FBA1-59ED-4C59-A5B4-1D6E8AA8E020}" dt="2021-02-25T14:32:09.706" v="3080" actId="1076"/>
          <ac:grpSpMkLst>
            <pc:docMk/>
            <pc:sldMk cId="3311876511" sldId="10229"/>
            <ac:grpSpMk id="29" creationId="{8D250A39-0E81-43A6-AC4D-FC3740A5595A}"/>
          </ac:grpSpMkLst>
        </pc:grpChg>
        <pc:grpChg chg="mod">
          <ac:chgData name="Roman Abylkhatov" userId="2e959579-b379-4599-8299-cd2bab77a390" providerId="ADAL" clId="{3598FBA1-59ED-4C59-A5B4-1D6E8AA8E020}" dt="2021-02-25T14:31:04.023" v="3076" actId="1036"/>
          <ac:grpSpMkLst>
            <pc:docMk/>
            <pc:sldMk cId="3311876511" sldId="10229"/>
            <ac:grpSpMk id="38" creationId="{A18C31A7-AD4B-4BE1-8AC5-ADCFF446E1DA}"/>
          </ac:grpSpMkLst>
        </pc:grpChg>
        <pc:grpChg chg="del">
          <ac:chgData name="Roman Abylkhatov" userId="2e959579-b379-4599-8299-cd2bab77a390" providerId="ADAL" clId="{3598FBA1-59ED-4C59-A5B4-1D6E8AA8E020}" dt="2021-02-25T14:29:05.569" v="3009" actId="478"/>
          <ac:grpSpMkLst>
            <pc:docMk/>
            <pc:sldMk cId="3311876511" sldId="10229"/>
            <ac:grpSpMk id="43" creationId="{97466D78-8CAC-4A75-8E32-811CF67024FD}"/>
          </ac:grpSpMkLst>
        </pc:grpChg>
        <pc:grpChg chg="add mod">
          <ac:chgData name="Roman Abylkhatov" userId="2e959579-b379-4599-8299-cd2bab77a390" providerId="ADAL" clId="{3598FBA1-59ED-4C59-A5B4-1D6E8AA8E020}" dt="2021-02-25T14:30:29.580" v="3039" actId="571"/>
          <ac:grpSpMkLst>
            <pc:docMk/>
            <pc:sldMk cId="3311876511" sldId="10229"/>
            <ac:grpSpMk id="48" creationId="{B2A77C6B-36FF-4C70-BB2D-3A2913D67CC9}"/>
          </ac:grpSpMkLst>
        </pc:grpChg>
        <pc:grpChg chg="mod">
          <ac:chgData name="Roman Abylkhatov" userId="2e959579-b379-4599-8299-cd2bab77a390" providerId="ADAL" clId="{3598FBA1-59ED-4C59-A5B4-1D6E8AA8E020}" dt="2021-02-25T14:30:29.580" v="3039" actId="571"/>
          <ac:grpSpMkLst>
            <pc:docMk/>
            <pc:sldMk cId="3311876511" sldId="10229"/>
            <ac:grpSpMk id="50" creationId="{4720C498-4A29-40BF-AEAB-131B19B42DF0}"/>
          </ac:grpSpMkLst>
        </pc:grpChg>
        <pc:grpChg chg="add mod">
          <ac:chgData name="Roman Abylkhatov" userId="2e959579-b379-4599-8299-cd2bab77a390" providerId="ADAL" clId="{3598FBA1-59ED-4C59-A5B4-1D6E8AA8E020}" dt="2021-02-25T14:30:29.580" v="3039" actId="571"/>
          <ac:grpSpMkLst>
            <pc:docMk/>
            <pc:sldMk cId="3311876511" sldId="10229"/>
            <ac:grpSpMk id="53" creationId="{CE2E6E32-4F18-49EA-89BF-BE6024A6704D}"/>
          </ac:grpSpMkLst>
        </pc:grpChg>
        <pc:grpChg chg="mod">
          <ac:chgData name="Roman Abylkhatov" userId="2e959579-b379-4599-8299-cd2bab77a390" providerId="ADAL" clId="{3598FBA1-59ED-4C59-A5B4-1D6E8AA8E020}" dt="2021-02-25T14:30:29.580" v="3039" actId="571"/>
          <ac:grpSpMkLst>
            <pc:docMk/>
            <pc:sldMk cId="3311876511" sldId="10229"/>
            <ac:grpSpMk id="55" creationId="{9AF2E1BA-1ABE-4E6C-9974-FACEF6722D18}"/>
          </ac:grpSpMkLst>
        </pc:grpChg>
        <pc:grpChg chg="mod">
          <ac:chgData name="Roman Abylkhatov" userId="2e959579-b379-4599-8299-cd2bab77a390" providerId="ADAL" clId="{3598FBA1-59ED-4C59-A5B4-1D6E8AA8E020}" dt="2021-02-25T14:31:04.023" v="3076" actId="1036"/>
          <ac:grpSpMkLst>
            <pc:docMk/>
            <pc:sldMk cId="3311876511" sldId="10229"/>
            <ac:grpSpMk id="73" creationId="{AEE11099-064A-431F-8AE0-CE84BAA66EA9}"/>
          </ac:grpSpMkLst>
        </pc:grpChg>
      </pc:sldChg>
      <pc:sldChg chg="modSp add mod ord">
        <pc:chgData name="Roman Abylkhatov" userId="2e959579-b379-4599-8299-cd2bab77a390" providerId="ADAL" clId="{3598FBA1-59ED-4C59-A5B4-1D6E8AA8E020}" dt="2021-03-23T14:26:54.973" v="3094" actId="313"/>
        <pc:sldMkLst>
          <pc:docMk/>
          <pc:sldMk cId="1545164424" sldId="10230"/>
        </pc:sldMkLst>
        <pc:spChg chg="mod">
          <ac:chgData name="Roman Abylkhatov" userId="2e959579-b379-4599-8299-cd2bab77a390" providerId="ADAL" clId="{3598FBA1-59ED-4C59-A5B4-1D6E8AA8E020}" dt="2021-03-23T14:26:54.973" v="3094" actId="313"/>
          <ac:spMkLst>
            <pc:docMk/>
            <pc:sldMk cId="1545164424" sldId="10230"/>
            <ac:spMk id="4" creationId="{AD877597-C58A-4F11-971F-738C8C342DDF}"/>
          </ac:spMkLst>
        </pc:spChg>
      </pc:sldChg>
    </pc:docChg>
  </pc:docChgLst>
  <pc:docChgLst>
    <pc:chgData name="Reed Wolfe" userId="S::reedw@microsoft.com::d05f6079-100b-4fbc-abf2-3407048ef9c5" providerId="AD" clId="Web-{0D6182E5-C734-ADDE-4FF5-D8E81AB1E5FA}"/>
    <pc:docChg chg="modSld">
      <pc:chgData name="Reed Wolfe" userId="S::reedw@microsoft.com::d05f6079-100b-4fbc-abf2-3407048ef9c5" providerId="AD" clId="Web-{0D6182E5-C734-ADDE-4FF5-D8E81AB1E5FA}" dt="2021-05-24T16:14:35.310" v="0" actId="20577"/>
      <pc:docMkLst>
        <pc:docMk/>
      </pc:docMkLst>
      <pc:sldChg chg="modSp">
        <pc:chgData name="Reed Wolfe" userId="S::reedw@microsoft.com::d05f6079-100b-4fbc-abf2-3407048ef9c5" providerId="AD" clId="Web-{0D6182E5-C734-ADDE-4FF5-D8E81AB1E5FA}" dt="2021-05-24T16:14:35.310" v="0" actId="20577"/>
        <pc:sldMkLst>
          <pc:docMk/>
          <pc:sldMk cId="2744971081" sldId="10226"/>
        </pc:sldMkLst>
        <pc:spChg chg="mod">
          <ac:chgData name="Reed Wolfe" userId="S::reedw@microsoft.com::d05f6079-100b-4fbc-abf2-3407048ef9c5" providerId="AD" clId="Web-{0D6182E5-C734-ADDE-4FF5-D8E81AB1E5FA}" dt="2021-05-24T16:14:35.310" v="0" actId="20577"/>
          <ac:spMkLst>
            <pc:docMk/>
            <pc:sldMk cId="2744971081" sldId="10226"/>
            <ac:spMk id="2" creationId="{CC40D7E0-D5FA-4A86-93CD-A73C19FDE61A}"/>
          </ac:spMkLst>
        </pc:spChg>
      </pc:sldChg>
    </pc:docChg>
  </pc:docChgLst>
  <pc:docChgLst>
    <pc:chgData name="Jibran Sayed Mohammed" userId="26e67e77-029a-4089-82c2-bbcd1f331771" providerId="ADAL" clId="{2365D864-B540-4A76-A517-86B705BB6D46}"/>
    <pc:docChg chg="modSld sldOrd">
      <pc:chgData name="Jibran Sayed Mohammed" userId="26e67e77-029a-4089-82c2-bbcd1f331771" providerId="ADAL" clId="{2365D864-B540-4A76-A517-86B705BB6D46}" dt="2020-03-10T13:56:38.883" v="1"/>
      <pc:docMkLst>
        <pc:docMk/>
      </pc:docMkLst>
      <pc:sldChg chg="ord">
        <pc:chgData name="Jibran Sayed Mohammed" userId="26e67e77-029a-4089-82c2-bbcd1f331771" providerId="ADAL" clId="{2365D864-B540-4A76-A517-86B705BB6D46}" dt="2020-03-10T13:56:38.883" v="1"/>
        <pc:sldMkLst>
          <pc:docMk/>
          <pc:sldMk cId="4193158485" sldId="1742"/>
        </pc:sldMkLst>
      </pc:sldChg>
    </pc:docChg>
  </pc:docChgLst>
  <pc:docChgLst>
    <pc:chgData name="Reed Wolfe" userId="S::reedw@microsoft.com::d05f6079-100b-4fbc-abf2-3407048ef9c5" providerId="AD" clId="Web-{1B69B066-A2E1-822C-AE33-1E64C67A438C}"/>
    <pc:docChg chg="modSld">
      <pc:chgData name="Reed Wolfe" userId="S::reedw@microsoft.com::d05f6079-100b-4fbc-abf2-3407048ef9c5" providerId="AD" clId="Web-{1B69B066-A2E1-822C-AE33-1E64C67A438C}" dt="2021-06-10T12:05:41.141" v="25" actId="20577"/>
      <pc:docMkLst>
        <pc:docMk/>
      </pc:docMkLst>
      <pc:sldChg chg="modSp">
        <pc:chgData name="Reed Wolfe" userId="S::reedw@microsoft.com::d05f6079-100b-4fbc-abf2-3407048ef9c5" providerId="AD" clId="Web-{1B69B066-A2E1-822C-AE33-1E64C67A438C}" dt="2021-06-10T12:05:41.141" v="25" actId="20577"/>
        <pc:sldMkLst>
          <pc:docMk/>
          <pc:sldMk cId="3300356148" sldId="10222"/>
        </pc:sldMkLst>
        <pc:spChg chg="mod">
          <ac:chgData name="Reed Wolfe" userId="S::reedw@microsoft.com::d05f6079-100b-4fbc-abf2-3407048ef9c5" providerId="AD" clId="Web-{1B69B066-A2E1-822C-AE33-1E64C67A438C}" dt="2021-06-10T12:04:34.527" v="0" actId="1076"/>
          <ac:spMkLst>
            <pc:docMk/>
            <pc:sldMk cId="3300356148" sldId="10222"/>
            <ac:spMk id="3" creationId="{ADAEA79F-AF79-4F22-8280-C4011C611AAA}"/>
          </ac:spMkLst>
        </pc:spChg>
        <pc:spChg chg="mod">
          <ac:chgData name="Reed Wolfe" userId="S::reedw@microsoft.com::d05f6079-100b-4fbc-abf2-3407048ef9c5" providerId="AD" clId="Web-{1B69B066-A2E1-822C-AE33-1E64C67A438C}" dt="2021-06-10T12:04:41.762" v="1" actId="1076"/>
          <ac:spMkLst>
            <pc:docMk/>
            <pc:sldMk cId="3300356148" sldId="10222"/>
            <ac:spMk id="11" creationId="{E5BCFD79-ACCF-4415-ABDE-04E18E58FD42}"/>
          </ac:spMkLst>
        </pc:spChg>
        <pc:spChg chg="mod">
          <ac:chgData name="Reed Wolfe" userId="S::reedw@microsoft.com::d05f6079-100b-4fbc-abf2-3407048ef9c5" providerId="AD" clId="Web-{1B69B066-A2E1-822C-AE33-1E64C67A438C}" dt="2021-06-10T12:05:41.141" v="25" actId="20577"/>
          <ac:spMkLst>
            <pc:docMk/>
            <pc:sldMk cId="3300356148" sldId="10222"/>
            <ac:spMk id="13" creationId="{5865844A-B378-4D24-B7F0-B5D3709F545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2/11/2022</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2/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2/11/2022 10:5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1/2022 10:5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or the documents and diagrams listed, please feel free to add additional slides,  attach documents directly to this template or email to your FastTrack Solution Architect.</a:t>
            </a:r>
          </a:p>
        </p:txBody>
      </p:sp>
      <p:sp>
        <p:nvSpPr>
          <p:cNvPr id="4" name="Slide Number Placeholder 3"/>
          <p:cNvSpPr>
            <a:spLocks noGrp="1"/>
          </p:cNvSpPr>
          <p:nvPr>
            <p:ph type="sldNum" sz="quarter" idx="5"/>
          </p:nvPr>
        </p:nvSpPr>
        <p:spPr/>
        <p:txBody>
          <a:bodyPr/>
          <a:lstStyle/>
          <a:p>
            <a:fld id="{6966B356-2F22-40D0-A92B-C8127227BBA1}" type="slidenum">
              <a:rPr lang="en-US" smtClean="0"/>
              <a:t>3</a:t>
            </a:fld>
            <a:endParaRPr lang="en-US"/>
          </a:p>
        </p:txBody>
      </p:sp>
    </p:spTree>
    <p:extLst>
      <p:ext uri="{BB962C8B-B14F-4D97-AF65-F5344CB8AC3E}">
        <p14:creationId xmlns:p14="http://schemas.microsoft.com/office/powerpoint/2010/main" val="174443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or the documents and diagrams listed, please feel free to add additional slides,  attach documents directly to this template or email to your FastTrack Solution Architect.</a:t>
            </a:r>
          </a:p>
        </p:txBody>
      </p:sp>
      <p:sp>
        <p:nvSpPr>
          <p:cNvPr id="4" name="Slide Number Placeholder 3"/>
          <p:cNvSpPr>
            <a:spLocks noGrp="1"/>
          </p:cNvSpPr>
          <p:nvPr>
            <p:ph type="sldNum" sz="quarter" idx="5"/>
          </p:nvPr>
        </p:nvSpPr>
        <p:spPr/>
        <p:txBody>
          <a:bodyPr/>
          <a:lstStyle/>
          <a:p>
            <a:fld id="{6966B356-2F22-40D0-A92B-C8127227BBA1}" type="slidenum">
              <a:rPr lang="en-US" smtClean="0"/>
              <a:t>4</a:t>
            </a:fld>
            <a:endParaRPr lang="en-US"/>
          </a:p>
        </p:txBody>
      </p:sp>
    </p:spTree>
    <p:extLst>
      <p:ext uri="{BB962C8B-B14F-4D97-AF65-F5344CB8AC3E}">
        <p14:creationId xmlns:p14="http://schemas.microsoft.com/office/powerpoint/2010/main" val="1573590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5</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cs typeface="Segoe UI"/>
              </a:rPr>
              <a:t>Note: </a:t>
            </a:r>
            <a:r>
              <a:rPr lang="en-US" sz="1200" dirty="0">
                <a:solidFill>
                  <a:schemeClr val="tx1"/>
                </a:solidFill>
                <a:cs typeface="Segoe UI"/>
              </a:rPr>
              <a:t>please duplicate the slide for each Gap in the list</a:t>
            </a:r>
          </a:p>
          <a:p>
            <a:endParaRPr lang="pt-P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jpeg"/><Relationship Id="rId9"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0FF0466-D2C6-42B6-BDAC-48EF1862E536}"/>
              </a:ext>
            </a:extLst>
          </p:cNvPr>
          <p:cNvPicPr>
            <a:picLocks noChangeAspect="1"/>
          </p:cNvPicPr>
          <p:nvPr userDrawn="1"/>
        </p:nvPicPr>
        <p:blipFill rotWithShape="1">
          <a:blip r:embed="rId4"/>
          <a:srcRect l="235" t="145" r="6865" b="21716"/>
          <a:stretch/>
        </p:blipFill>
        <p:spPr>
          <a:xfrm>
            <a:off x="0" y="0"/>
            <a:ext cx="12192000" cy="6858000"/>
          </a:xfrm>
          <a:custGeom>
            <a:avLst/>
            <a:gdLst>
              <a:gd name="connsiteX0" fmla="*/ 0 w 12192000"/>
              <a:gd name="connsiteY0" fmla="*/ 0 h 6833780"/>
              <a:gd name="connsiteX1" fmla="*/ 12192000 w 12192000"/>
              <a:gd name="connsiteY1" fmla="*/ 0 h 6833780"/>
              <a:gd name="connsiteX2" fmla="*/ 12192000 w 12192000"/>
              <a:gd name="connsiteY2" fmla="*/ 6833780 h 6833780"/>
              <a:gd name="connsiteX3" fmla="*/ 0 w 12192000"/>
              <a:gd name="connsiteY3" fmla="*/ 6833780 h 6833780"/>
            </a:gdLst>
            <a:ahLst/>
            <a:cxnLst>
              <a:cxn ang="0">
                <a:pos x="connsiteX0" y="connsiteY0"/>
              </a:cxn>
              <a:cxn ang="0">
                <a:pos x="connsiteX1" y="connsiteY1"/>
              </a:cxn>
              <a:cxn ang="0">
                <a:pos x="connsiteX2" y="connsiteY2"/>
              </a:cxn>
              <a:cxn ang="0">
                <a:pos x="connsiteX3" y="connsiteY3"/>
              </a:cxn>
            </a:cxnLst>
            <a:rect l="l" t="t" r="r" b="b"/>
            <a:pathLst>
              <a:path w="12192000" h="6833780">
                <a:moveTo>
                  <a:pt x="0" y="0"/>
                </a:moveTo>
                <a:lnTo>
                  <a:pt x="12192000" y="0"/>
                </a:lnTo>
                <a:lnTo>
                  <a:pt x="12192000" y="6833780"/>
                </a:lnTo>
                <a:lnTo>
                  <a:pt x="0" y="683378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3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335699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6"/>
          <a:stretch>
            <a:fillRect/>
          </a:stretch>
        </p:blipFill>
        <p:spPr>
          <a:xfrm>
            <a:off x="12279377" y="189356"/>
            <a:ext cx="1203358" cy="5903533"/>
          </a:xfrm>
          <a:prstGeom prst="rect">
            <a:avLst/>
          </a:prstGeom>
        </p:spPr>
      </p:pic>
      <p:sp>
        <p:nvSpPr>
          <p:cNvPr id="3" name="MSIPCMContentMarking" descr="{&quot;HashCode&quot;:-1634785317,&quot;Placement&quot;:&quot;Footer&quot;}">
            <a:extLst>
              <a:ext uri="{FF2B5EF4-FFF2-40B4-BE49-F238E27FC236}">
                <a16:creationId xmlns:a16="http://schemas.microsoft.com/office/drawing/2014/main" id="{841A1523-1A63-43B7-B608-6A33A0622BF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703" r:id="rId1"/>
    <p:sldLayoutId id="2147483674" r:id="rId2"/>
    <p:sldLayoutId id="2147483702" r:id="rId3"/>
    <p:sldLayoutId id="214748370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learn/modules/fit-gap-analysis/"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hyperlink" Target="https://docs.microsoft.com/en-us/learn/modules/design-plan-implementation-finance-operations/12-design-doc"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p:cNvSpPr>
          <p:nvPr/>
        </p:nvSpPr>
        <p:spPr bwMode="auto">
          <a:xfrm>
            <a:off x="269303" y="1153378"/>
            <a:ext cx="4653679" cy="2433979"/>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r>
              <a:rPr lang="en-US" sz="3600" dirty="0"/>
              <a:t>FastTrack </a:t>
            </a:r>
          </a:p>
          <a:p>
            <a:r>
              <a:rPr lang="en-US" sz="3600" dirty="0"/>
              <a:t>for Dynamics 365</a:t>
            </a:r>
          </a:p>
        </p:txBody>
      </p:sp>
      <p:sp>
        <p:nvSpPr>
          <p:cNvPr id="3" name="Title 2">
            <a:extLst>
              <a:ext uri="{FF2B5EF4-FFF2-40B4-BE49-F238E27FC236}">
                <a16:creationId xmlns:a16="http://schemas.microsoft.com/office/drawing/2014/main" id="{ADAEA79F-AF79-4F22-8280-C4011C611AAA}"/>
              </a:ext>
            </a:extLst>
          </p:cNvPr>
          <p:cNvSpPr>
            <a:spLocks noGrp="1"/>
          </p:cNvSpPr>
          <p:nvPr>
            <p:ph type="title"/>
          </p:nvPr>
        </p:nvSpPr>
        <p:spPr>
          <a:xfrm>
            <a:off x="267683" y="2654814"/>
            <a:ext cx="4559727" cy="1793104"/>
          </a:xfrm>
        </p:spPr>
        <p:txBody>
          <a:bodyPr/>
          <a:lstStyle/>
          <a:p>
            <a:r>
              <a:rPr lang="en-US" sz="2400" dirty="0">
                <a:latin typeface="Segoe UI Semibold" panose="020B0702040204020203" pitchFamily="34" charset="0"/>
              </a:rPr>
              <a:t>Gap Solution Design Workshop</a:t>
            </a: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267683" y="5308478"/>
            <a:ext cx="3999517" cy="949569"/>
          </a:xfrm>
          <a:prstGeom prst="rect">
            <a:avLst/>
          </a:prstGeom>
        </p:spPr>
        <p:txBody>
          <a:bodyPr vert="horz" wrap="square" lIns="146304" tIns="109728" rIns="146304" bIns="109728" rtlCol="0" anchor="t">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cs typeface="Segoe UI Light"/>
              </a:rPr>
              <a:t>&lt;Name&gt;</a:t>
            </a:r>
          </a:p>
          <a:p>
            <a:r>
              <a:rPr lang="en-US" sz="2400" dirty="0">
                <a:cs typeface="Segoe UI Light"/>
              </a:rPr>
              <a:t>FastTrack Solution Architect</a:t>
            </a:r>
          </a:p>
          <a:p>
            <a:endParaRPr lang="en-US" sz="2400" dirty="0">
              <a:cs typeface="Segoe UI Light" panose="020B0502040204020203" pitchFamily="34" charset="0"/>
            </a:endParaRPr>
          </a:p>
          <a:p>
            <a:r>
              <a:rPr lang="en-US" sz="1800" dirty="0">
                <a:solidFill>
                  <a:schemeClr val="bg2">
                    <a:lumMod val="90000"/>
                  </a:schemeClr>
                </a:solidFill>
                <a:cs typeface="Segoe UI Light"/>
              </a:rPr>
              <a:t>Created on: &lt;Date&gt;</a:t>
            </a:r>
            <a:endParaRPr lang="en-US" sz="1800">
              <a:solidFill>
                <a:schemeClr val="bg2">
                  <a:lumMod val="90000"/>
                </a:schemeClr>
              </a:solidFill>
              <a:cs typeface="Segoe UI Light" panose="020B0502040204020203" pitchFamily="34" charset="0"/>
            </a:endParaRPr>
          </a:p>
          <a:p>
            <a:endParaRPr lang="en-US" sz="2400">
              <a:cs typeface="Segoe UI Light" panose="020B0502040204020203" pitchFamily="34" charset="0"/>
            </a:endParaRP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5: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355743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6: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96705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7: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38148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38385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solidFill>
                  <a:schemeClr val="bg2">
                    <a:lumMod val="10000"/>
                  </a:schemeClr>
                </a:solidFill>
              </a:rPr>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bg2">
                    <a:lumMod val="10000"/>
                  </a:schemeClr>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bg2">
                    <a:lumMod val="10000"/>
                  </a:schemeClr>
                </a:solidFill>
              </a:rPr>
              <a:t>List questions and follow up actions</a:t>
            </a:r>
          </a:p>
        </p:txBody>
      </p:sp>
      <p:sp>
        <p:nvSpPr>
          <p:cNvPr id="9" name="Rectangle 8">
            <a:extLst>
              <a:ext uri="{FF2B5EF4-FFF2-40B4-BE49-F238E27FC236}">
                <a16:creationId xmlns:a16="http://schemas.microsoft.com/office/drawing/2014/main" id="{7BCE2C40-90DB-4FC2-953D-507B8E0183F5}"/>
              </a:ext>
            </a:extLst>
          </p:cNvPr>
          <p:cNvSpPr/>
          <p:nvPr/>
        </p:nvSpPr>
        <p:spPr>
          <a:xfrm>
            <a:off x="8419249" y="0"/>
            <a:ext cx="3772751"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solidFill>
                  <a:schemeClr val="bg2">
                    <a:lumMod val="10000"/>
                  </a:schemeClr>
                </a:solidFill>
              </a:rPr>
              <a:t>Next Step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bg2">
                    <a:lumMod val="10000"/>
                  </a:schemeClr>
                </a:solidFill>
              </a:rPr>
              <a:t>Discuss next steps and action items.</a:t>
            </a:r>
          </a:p>
        </p:txBody>
      </p:sp>
      <p:grpSp>
        <p:nvGrpSpPr>
          <p:cNvPr id="28" name="Group 27">
            <a:extLst>
              <a:ext uri="{FF2B5EF4-FFF2-40B4-BE49-F238E27FC236}">
                <a16:creationId xmlns:a16="http://schemas.microsoft.com/office/drawing/2014/main" id="{5EB24ABA-7791-4106-98DF-BC19E22E4C94}"/>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bg2">
                    <a:lumMod val="10000"/>
                  </a:schemeClr>
                </a:solidFill>
              </a:rPr>
              <a:t>List next steps and action items</a:t>
            </a:r>
          </a:p>
        </p:txBody>
      </p:sp>
      <p:sp>
        <p:nvSpPr>
          <p:cNvPr id="9" name="Rectangle 8">
            <a:extLst>
              <a:ext uri="{FF2B5EF4-FFF2-40B4-BE49-F238E27FC236}">
                <a16:creationId xmlns:a16="http://schemas.microsoft.com/office/drawing/2014/main" id="{87A46D8A-4DC1-4337-8C6F-46DCD83BAF11}"/>
              </a:ext>
            </a:extLst>
          </p:cNvPr>
          <p:cNvSpPr/>
          <p:nvPr/>
        </p:nvSpPr>
        <p:spPr>
          <a:xfrm>
            <a:off x="8419249" y="0"/>
            <a:ext cx="3772751"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50" kern="0" dirty="0">
                <a:latin typeface="Segoe UI"/>
              </a:rPr>
              <a:t>© 2021 Microsoft Corporation. All rights reserved. Microsoft, Microsoft Dynamics, Office 365, Windows, and other product names are or may be registered trademarks and/or trademarks in </a:t>
            </a:r>
            <a:br>
              <a:rPr lang="en-US" sz="750" kern="0" dirty="0">
                <a:latin typeface="Segoe UI"/>
              </a:rPr>
            </a:br>
            <a:r>
              <a:rPr lang="en-US" sz="750" kern="0" dirty="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solidFill>
                  <a:schemeClr val="bg2">
                    <a:lumMod val="10000"/>
                  </a:schemeClr>
                </a:solidFill>
              </a:rPr>
              <a:t>Gap Solution Design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dirty="0">
                <a:ln w="3175">
                  <a:noFill/>
                </a:ln>
                <a:solidFill>
                  <a:srgbClr val="0B5569"/>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GB" sz="1600" b="0" i="0" dirty="0">
                <a:solidFill>
                  <a:schemeClr val="bg2">
                    <a:lumMod val="10000"/>
                  </a:schemeClr>
                </a:solidFill>
                <a:effectLst/>
                <a:latin typeface="Arial"/>
                <a:cs typeface="Arial"/>
              </a:rPr>
              <a:t>The workshop reviews the top </a:t>
            </a:r>
            <a:r>
              <a:rPr lang="en-GB" sz="1600" dirty="0">
                <a:solidFill>
                  <a:schemeClr val="bg2">
                    <a:lumMod val="10000"/>
                  </a:schemeClr>
                </a:solidFill>
                <a:latin typeface="Arial"/>
                <a:cs typeface="Arial"/>
              </a:rPr>
              <a:t>gap </a:t>
            </a:r>
            <a:r>
              <a:rPr lang="en-GB" sz="1600" u="sng" dirty="0">
                <a:solidFill>
                  <a:schemeClr val="bg2">
                    <a:lumMod val="10000"/>
                  </a:schemeClr>
                </a:solidFill>
                <a:latin typeface="Arial"/>
                <a:cs typeface="Arial"/>
              </a:rPr>
              <a:t>solutions</a:t>
            </a:r>
            <a:r>
              <a:rPr lang="en-GB" sz="1600" b="0" i="0" dirty="0">
                <a:solidFill>
                  <a:schemeClr val="bg2">
                    <a:lumMod val="10000"/>
                  </a:schemeClr>
                </a:solidFill>
                <a:effectLst/>
                <a:latin typeface="Arial"/>
                <a:cs typeface="Arial"/>
              </a:rPr>
              <a:t> in terms of complexity and potential risks.</a:t>
            </a:r>
            <a:endParaRPr lang="en-US" sz="1600" dirty="0">
              <a:solidFill>
                <a:schemeClr val="bg2">
                  <a:lumMod val="10000"/>
                </a:schemeClr>
              </a:solidFill>
              <a:highlight>
                <a:srgbClr val="FFFF00"/>
              </a:highlight>
              <a:latin typeface="Arial"/>
              <a:cs typeface="Arial"/>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a:off x="457200" y="24512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Lst>
          </p:cNvPr>
          <p:cNvCxnSpPr>
            <a:cxnSpLocks/>
          </p:cNvCxnSpPr>
          <p:nvPr/>
        </p:nvCxnSpPr>
        <p:spPr>
          <a:xfrm>
            <a:off x="457200" y="3040727"/>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Lst>
          </p:cNvPr>
          <p:cNvCxnSpPr>
            <a:cxnSpLocks/>
          </p:cNvCxnSpPr>
          <p:nvPr/>
        </p:nvCxnSpPr>
        <p:spPr>
          <a:xfrm>
            <a:off x="467038" y="3644033"/>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Lst>
          </p:cNvPr>
          <p:cNvCxnSpPr>
            <a:cxnSpLocks/>
          </p:cNvCxnSpPr>
          <p:nvPr/>
        </p:nvCxnSpPr>
        <p:spPr>
          <a:xfrm>
            <a:off x="467038" y="4233547"/>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Lst>
          </p:cNvPr>
          <p:cNvCxnSpPr>
            <a:cxnSpLocks/>
          </p:cNvCxnSpPr>
          <p:nvPr/>
        </p:nvCxnSpPr>
        <p:spPr>
          <a:xfrm>
            <a:off x="467038" y="4823061"/>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Lst>
          </p:cNvPr>
          <p:cNvGrpSpPr/>
          <p:nvPr/>
        </p:nvGrpSpPr>
        <p:grpSpPr>
          <a:xfrm>
            <a:off x="432000" y="1895263"/>
            <a:ext cx="5613527" cy="522386"/>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dirty="0">
                  <a:solidFill>
                    <a:schemeClr val="bg2">
                      <a:lumMod val="10000"/>
                    </a:schemeClr>
                  </a:solidFill>
                </a:rPr>
                <a:t>Review the top gap requirements</a:t>
              </a:r>
              <a:endParaRPr lang="en-GB" sz="1600" dirty="0">
                <a:solidFill>
                  <a:schemeClr val="bg2">
                    <a:lumMod val="10000"/>
                  </a:schemeClr>
                </a:solidFill>
                <a:highlight>
                  <a:srgbClr val="FFFF00"/>
                </a:highlight>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59" name="Group 58">
            <a:extLst>
              <a:ext uri="{FF2B5EF4-FFF2-40B4-BE49-F238E27FC236}">
                <a16:creationId xmlns:a16="http://schemas.microsoft.com/office/drawing/2014/main" id="{77ACF46A-463D-47C7-864A-28AF0D80B0C8}"/>
              </a:ext>
            </a:extLst>
          </p:cNvPr>
          <p:cNvGrpSpPr/>
          <p:nvPr/>
        </p:nvGrpSpPr>
        <p:grpSpPr>
          <a:xfrm>
            <a:off x="432000" y="2484777"/>
            <a:ext cx="5613527" cy="522386"/>
            <a:chOff x="506805" y="2480613"/>
            <a:chExt cx="5613527" cy="522386"/>
          </a:xfrm>
        </p:grpSpPr>
        <p:sp>
          <p:nvSpPr>
            <p:cNvPr id="60" name="Rectangle 59">
              <a:extLst>
                <a:ext uri="{FF2B5EF4-FFF2-40B4-BE49-F238E27FC236}">
                  <a16:creationId xmlns:a16="http://schemas.microsoft.com/office/drawing/2014/main" id="{1F0B6B51-41D8-4F93-878F-BACE5D1A7680}"/>
                </a:ext>
              </a:extLst>
            </p:cNvPr>
            <p:cNvSpPr/>
            <p:nvPr/>
          </p:nvSpPr>
          <p:spPr>
            <a:xfrm>
              <a:off x="506805" y="24806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dirty="0">
                  <a:solidFill>
                    <a:schemeClr val="bg2">
                      <a:lumMod val="10000"/>
                    </a:schemeClr>
                  </a:solidFill>
                </a:rPr>
                <a:t>Discuss proposed solution for each gap</a:t>
              </a:r>
            </a:p>
          </p:txBody>
        </p:sp>
        <p:grpSp>
          <p:nvGrpSpPr>
            <p:cNvPr id="61" name="Group 60">
              <a:extLst>
                <a:ext uri="{FF2B5EF4-FFF2-40B4-BE49-F238E27FC236}">
                  <a16:creationId xmlns:a16="http://schemas.microsoft.com/office/drawing/2014/main" id="{B49BE7D1-9561-4827-9078-39A70C6194FC}"/>
                </a:ext>
              </a:extLst>
            </p:cNvPr>
            <p:cNvGrpSpPr/>
            <p:nvPr/>
          </p:nvGrpSpPr>
          <p:grpSpPr>
            <a:xfrm>
              <a:off x="730757" y="2578750"/>
              <a:ext cx="326112" cy="326112"/>
              <a:chOff x="115497" y="1864737"/>
              <a:chExt cx="461744" cy="461744"/>
            </a:xfrm>
            <a:solidFill>
              <a:schemeClr val="tx2"/>
            </a:solidFill>
          </p:grpSpPr>
          <p:sp>
            <p:nvSpPr>
              <p:cNvPr id="62" name="Freeform: Shape 61">
                <a:extLst>
                  <a:ext uri="{FF2B5EF4-FFF2-40B4-BE49-F238E27FC236}">
                    <a16:creationId xmlns:a16="http://schemas.microsoft.com/office/drawing/2014/main" id="{915A3C2A-BC9A-43BD-88E3-EE63266915B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Graphic 77">
                <a:extLst>
                  <a:ext uri="{FF2B5EF4-FFF2-40B4-BE49-F238E27FC236}">
                    <a16:creationId xmlns:a16="http://schemas.microsoft.com/office/drawing/2014/main" id="{30FA6A06-94D8-41F5-A50E-579C8331442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Lst>
          </p:cNvPr>
          <p:cNvGrpSpPr/>
          <p:nvPr/>
        </p:nvGrpSpPr>
        <p:grpSpPr>
          <a:xfrm>
            <a:off x="441838" y="3088083"/>
            <a:ext cx="5613527" cy="522386"/>
            <a:chOff x="506805" y="3651313"/>
            <a:chExt cx="5613527" cy="522386"/>
          </a:xfrm>
        </p:grpSpPr>
        <p:sp>
          <p:nvSpPr>
            <p:cNvPr id="70" name="Rectangle 69">
              <a:extLst>
                <a:ext uri="{FF2B5EF4-FFF2-40B4-BE49-F238E27FC236}">
                  <a16:creationId xmlns:a16="http://schemas.microsoft.com/office/drawing/2014/main" id="{1CE81B94-64B5-49BC-8A00-1B321C123F69}"/>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Identify and discuss any potential risks</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Lst>
          </p:cNvPr>
          <p:cNvGrpSpPr/>
          <p:nvPr/>
        </p:nvGrpSpPr>
        <p:grpSpPr>
          <a:xfrm>
            <a:off x="441838" y="4856625"/>
            <a:ext cx="5613527"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Q&amp;A</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rgbClr val="0B556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72302" y="2709126"/>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rgbClr val="0B5569"/>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3"/>
            <a:ext cx="4369478" cy="2810809"/>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rgbClr val="0B5569"/>
                </a:solidFill>
                <a:latin typeface="+mj-lt"/>
                <a:ea typeface="Segoe UI" pitchFamily="34" charset="0"/>
                <a:cs typeface="Segoe UI" pitchFamily="34" charset="0"/>
              </a:rPr>
              <a:t>Format: </a:t>
            </a:r>
            <a:r>
              <a:rPr lang="en-US" sz="1600" kern="0" dirty="0">
                <a:solidFill>
                  <a:schemeClr val="bg2">
                    <a:lumMod val="10000"/>
                  </a:schemeClr>
                </a:solidFill>
                <a:ea typeface="Segoe UI" pitchFamily="34" charset="0"/>
                <a:cs typeface="Segoe UI" pitchFamily="34" charset="0"/>
              </a:rPr>
              <a:t>60-180-minute Microsoft Teams call</a:t>
            </a:r>
          </a:p>
          <a:p>
            <a:pPr defTabSz="878102" fontAlgn="base">
              <a:spcBef>
                <a:spcPts val="600"/>
              </a:spcBef>
              <a:spcAft>
                <a:spcPts val="600"/>
              </a:spcAft>
              <a:defRPr/>
            </a:pPr>
            <a:r>
              <a:rPr lang="en-US" sz="1600" kern="0" dirty="0">
                <a:solidFill>
                  <a:srgbClr val="0B5569"/>
                </a:solidFill>
                <a:latin typeface="+mj-lt"/>
                <a:ea typeface="Segoe UI" pitchFamily="34" charset="0"/>
                <a:cs typeface="Segoe UI" pitchFamily="34" charset="0"/>
              </a:rPr>
              <a:t>Attendees:</a:t>
            </a:r>
          </a:p>
          <a:p>
            <a:pPr marL="285750" indent="-285750" defTabSz="878102" fontAlgn="base">
              <a:spcBef>
                <a:spcPts val="600"/>
              </a:spcBef>
              <a:spcAft>
                <a:spcPts val="600"/>
              </a:spcAft>
              <a:buFont typeface="Arial" panose="020B0604020202020204" pitchFamily="34" charset="0"/>
              <a:buChar char="•"/>
              <a:defRPr/>
            </a:pPr>
            <a:r>
              <a:rPr lang="en-GB" sz="1600" kern="0" dirty="0">
                <a:solidFill>
                  <a:schemeClr val="bg2">
                    <a:lumMod val="10000"/>
                  </a:schemeClr>
                </a:solidFill>
                <a:cs typeface="Segoe UI" pitchFamily="34" charset="0"/>
              </a:rPr>
              <a:t>Functional and technical architects</a:t>
            </a:r>
          </a:p>
          <a:p>
            <a:pPr marL="285750" indent="-285750" defTabSz="878102" fontAlgn="base">
              <a:spcBef>
                <a:spcPts val="600"/>
              </a:spcBef>
              <a:spcAft>
                <a:spcPts val="600"/>
              </a:spcAft>
              <a:buFont typeface="Arial" panose="020B0604020202020204" pitchFamily="34" charset="0"/>
              <a:buChar char="•"/>
              <a:defRPr/>
            </a:pPr>
            <a:r>
              <a:rPr lang="en-GB" sz="1600" kern="0" dirty="0">
                <a:solidFill>
                  <a:schemeClr val="bg2">
                    <a:lumMod val="10000"/>
                  </a:schemeClr>
                </a:solidFill>
                <a:cs typeface="Segoe UI" pitchFamily="34" charset="0"/>
              </a:rPr>
              <a:t>Functional, Technical and Development Leads</a:t>
            </a:r>
          </a:p>
          <a:p>
            <a:pPr marL="285750" indent="-285750" defTabSz="878102" fontAlgn="base">
              <a:spcBef>
                <a:spcPts val="600"/>
              </a:spcBef>
              <a:spcAft>
                <a:spcPts val="600"/>
              </a:spcAft>
              <a:buFont typeface="Arial" panose="020B0604020202020204" pitchFamily="34" charset="0"/>
              <a:buChar char="•"/>
              <a:defRPr/>
            </a:pPr>
            <a:r>
              <a:rPr lang="en-GB" sz="1600" kern="0" dirty="0">
                <a:solidFill>
                  <a:schemeClr val="bg2">
                    <a:lumMod val="10000"/>
                  </a:schemeClr>
                </a:solidFill>
                <a:cs typeface="Segoe UI" pitchFamily="34" charset="0"/>
              </a:rPr>
              <a:t>Optionally, Project managers</a:t>
            </a:r>
            <a:endParaRPr lang="en-US" sz="1600" kern="0" dirty="0">
              <a:solidFill>
                <a:schemeClr val="bg2">
                  <a:lumMod val="10000"/>
                </a:schemeClr>
              </a:solidFill>
              <a:cs typeface="Segoe UI" pitchFamily="34" charset="0"/>
            </a:endParaRP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rgbClr val="1392B3"/>
          </a:solidFill>
        </p:spPr>
        <p:txBody>
          <a:bodyPr wrap="square" lIns="0" tIns="0" rIns="0" bIns="0" rtlCol="0" anchor="ctr">
            <a:noAutofit/>
          </a:bodyPr>
          <a:lstStyle/>
          <a:p>
            <a:pPr algn="ctr"/>
            <a:endParaRPr lang="en-US" sz="1765">
              <a:latin typeface="Segoe UI"/>
            </a:endParaRPr>
          </a:p>
        </p:txBody>
      </p:sp>
      <p:cxnSp>
        <p:nvCxnSpPr>
          <p:cNvPr id="105" name="Straight Connector 104">
            <a:extLst>
              <a:ext uri="{FF2B5EF4-FFF2-40B4-BE49-F238E27FC236}">
                <a16:creationId xmlns:a16="http://schemas.microsoft.com/office/drawing/2014/main" id="{659FEA74-C3DC-4508-BE4F-3AF4CD4B39B4}"/>
              </a:ext>
            </a:extLst>
          </p:cNvPr>
          <p:cNvCxnSpPr>
            <a:cxnSpLocks/>
          </p:cNvCxnSpPr>
          <p:nvPr/>
        </p:nvCxnSpPr>
        <p:spPr>
          <a:xfrm>
            <a:off x="467038" y="5412575"/>
            <a:ext cx="5664073" cy="0"/>
          </a:xfrm>
          <a:prstGeom prst="line">
            <a:avLst/>
          </a:prstGeom>
          <a:noFill/>
          <a:ln w="3175">
            <a:solidFill>
              <a:schemeClr val="bg1">
                <a:lumMod val="85000"/>
              </a:schemeClr>
            </a:solidFill>
            <a:prstDash val="dash"/>
          </a:ln>
        </p:spPr>
      </p:cxnSp>
      <p:grpSp>
        <p:nvGrpSpPr>
          <p:cNvPr id="108" name="Group 107">
            <a:extLst>
              <a:ext uri="{FF2B5EF4-FFF2-40B4-BE49-F238E27FC236}">
                <a16:creationId xmlns:a16="http://schemas.microsoft.com/office/drawing/2014/main" id="{1968FCB1-4939-4B68-8DC9-516AB0B3F2DD}"/>
              </a:ext>
            </a:extLst>
          </p:cNvPr>
          <p:cNvGrpSpPr/>
          <p:nvPr/>
        </p:nvGrpSpPr>
        <p:grpSpPr>
          <a:xfrm>
            <a:off x="441838" y="5446146"/>
            <a:ext cx="5613527" cy="522386"/>
            <a:chOff x="506805" y="5407363"/>
            <a:chExt cx="5613527" cy="522386"/>
          </a:xfrm>
        </p:grpSpPr>
        <p:sp>
          <p:nvSpPr>
            <p:cNvPr id="109" name="Rectangle 108">
              <a:extLst>
                <a:ext uri="{FF2B5EF4-FFF2-40B4-BE49-F238E27FC236}">
                  <a16:creationId xmlns:a16="http://schemas.microsoft.com/office/drawing/2014/main" id="{3E4DFA63-3F0D-487B-A03F-3BEC2E1DBE8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Next Steps</a:t>
              </a:r>
            </a:p>
          </p:txBody>
        </p:sp>
        <p:grpSp>
          <p:nvGrpSpPr>
            <p:cNvPr id="110" name="Group 109">
              <a:extLst>
                <a:ext uri="{FF2B5EF4-FFF2-40B4-BE49-F238E27FC236}">
                  <a16:creationId xmlns:a16="http://schemas.microsoft.com/office/drawing/2014/main" id="{D7AF8044-6ECB-4939-9222-5609599E7C63}"/>
                </a:ext>
              </a:extLst>
            </p:cNvPr>
            <p:cNvGrpSpPr/>
            <p:nvPr/>
          </p:nvGrpSpPr>
          <p:grpSpPr>
            <a:xfrm>
              <a:off x="730757" y="5505500"/>
              <a:ext cx="326112" cy="326112"/>
              <a:chOff x="115497" y="1864737"/>
              <a:chExt cx="461744" cy="461744"/>
            </a:xfrm>
            <a:solidFill>
              <a:schemeClr val="tx2"/>
            </a:solidFill>
          </p:grpSpPr>
          <p:sp>
            <p:nvSpPr>
              <p:cNvPr id="111" name="Freeform: Shape 110">
                <a:extLst>
                  <a:ext uri="{FF2B5EF4-FFF2-40B4-BE49-F238E27FC236}">
                    <a16:creationId xmlns:a16="http://schemas.microsoft.com/office/drawing/2014/main" id="{82885EBC-15AB-4C6C-B918-86D23BF5CC9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2" name="Graphic 77">
                <a:extLst>
                  <a:ext uri="{FF2B5EF4-FFF2-40B4-BE49-F238E27FC236}">
                    <a16:creationId xmlns:a16="http://schemas.microsoft.com/office/drawing/2014/main" id="{FF55BADD-5681-4A71-BB66-099FE1C51A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98" name="Group 97">
            <a:extLst>
              <a:ext uri="{FF2B5EF4-FFF2-40B4-BE49-F238E27FC236}">
                <a16:creationId xmlns:a16="http://schemas.microsoft.com/office/drawing/2014/main" id="{AED3DC3C-2C35-484A-A44A-882CFB672503}"/>
              </a:ext>
            </a:extLst>
          </p:cNvPr>
          <p:cNvGrpSpPr/>
          <p:nvPr/>
        </p:nvGrpSpPr>
        <p:grpSpPr>
          <a:xfrm>
            <a:off x="441838" y="3677597"/>
            <a:ext cx="5613527" cy="522386"/>
            <a:chOff x="506805" y="3651313"/>
            <a:chExt cx="5613527" cy="522386"/>
          </a:xfrm>
        </p:grpSpPr>
        <p:sp>
          <p:nvSpPr>
            <p:cNvPr id="99" name="Rectangle 98">
              <a:extLst>
                <a:ext uri="{FF2B5EF4-FFF2-40B4-BE49-F238E27FC236}">
                  <a16:creationId xmlns:a16="http://schemas.microsoft.com/office/drawing/2014/main" id="{FC4B0DC5-704F-4EF8-8C8D-57B005D97A11}"/>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dirty="0">
                  <a:solidFill>
                    <a:schemeClr val="bg2">
                      <a:lumMod val="10000"/>
                    </a:schemeClr>
                  </a:solidFill>
                </a:rPr>
                <a:t>Review potential dependencies</a:t>
              </a:r>
              <a:endParaRPr lang="en-US" dirty="0">
                <a:solidFill>
                  <a:schemeClr val="bg2">
                    <a:lumMod val="10000"/>
                  </a:schemeClr>
                </a:solidFill>
              </a:endParaRPr>
            </a:p>
          </p:txBody>
        </p:sp>
        <p:grpSp>
          <p:nvGrpSpPr>
            <p:cNvPr id="106" name="Group 105">
              <a:extLst>
                <a:ext uri="{FF2B5EF4-FFF2-40B4-BE49-F238E27FC236}">
                  <a16:creationId xmlns:a16="http://schemas.microsoft.com/office/drawing/2014/main" id="{83C72D36-354B-434F-8B1C-38C7DCE2E832}"/>
                </a:ext>
              </a:extLst>
            </p:cNvPr>
            <p:cNvGrpSpPr/>
            <p:nvPr/>
          </p:nvGrpSpPr>
          <p:grpSpPr>
            <a:xfrm>
              <a:off x="730757" y="3749450"/>
              <a:ext cx="326112" cy="326112"/>
              <a:chOff x="115497" y="1864737"/>
              <a:chExt cx="461744" cy="461744"/>
            </a:xfrm>
            <a:solidFill>
              <a:schemeClr val="tx2"/>
            </a:solidFill>
          </p:grpSpPr>
          <p:sp>
            <p:nvSpPr>
              <p:cNvPr id="107" name="Freeform: Shape 106">
                <a:extLst>
                  <a:ext uri="{FF2B5EF4-FFF2-40B4-BE49-F238E27FC236}">
                    <a16:creationId xmlns:a16="http://schemas.microsoft.com/office/drawing/2014/main" id="{84085650-8518-468F-8C8A-02157837487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3" name="Graphic 77">
                <a:extLst>
                  <a:ext uri="{FF2B5EF4-FFF2-40B4-BE49-F238E27FC236}">
                    <a16:creationId xmlns:a16="http://schemas.microsoft.com/office/drawing/2014/main" id="{5FEB52B2-E0FA-46C6-B934-58BC6077D08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114" name="Group 113">
            <a:extLst>
              <a:ext uri="{FF2B5EF4-FFF2-40B4-BE49-F238E27FC236}">
                <a16:creationId xmlns:a16="http://schemas.microsoft.com/office/drawing/2014/main" id="{38E6168B-17A2-40FF-90C7-264C19822952}"/>
              </a:ext>
            </a:extLst>
          </p:cNvPr>
          <p:cNvGrpSpPr/>
          <p:nvPr/>
        </p:nvGrpSpPr>
        <p:grpSpPr>
          <a:xfrm>
            <a:off x="441838" y="4265309"/>
            <a:ext cx="5613527" cy="522386"/>
            <a:chOff x="506805" y="3651313"/>
            <a:chExt cx="5613527" cy="522386"/>
          </a:xfrm>
        </p:grpSpPr>
        <p:sp>
          <p:nvSpPr>
            <p:cNvPr id="115" name="Rectangle 114">
              <a:extLst>
                <a:ext uri="{FF2B5EF4-FFF2-40B4-BE49-F238E27FC236}">
                  <a16:creationId xmlns:a16="http://schemas.microsoft.com/office/drawing/2014/main" id="{6A8D80DA-9DE8-4C5A-B709-2F883CCAFD13}"/>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dirty="0">
                  <a:solidFill>
                    <a:schemeClr val="bg2">
                      <a:lumMod val="10000"/>
                    </a:schemeClr>
                  </a:solidFill>
                  <a:ea typeface="+mn-lt"/>
                  <a:cs typeface="+mn-lt"/>
                </a:rPr>
                <a:t>Discuss alternative solution, ISV or workaround</a:t>
              </a:r>
              <a:endParaRPr lang="en-US" sz="1600" dirty="0">
                <a:solidFill>
                  <a:schemeClr val="bg2">
                    <a:lumMod val="10000"/>
                  </a:schemeClr>
                </a:solidFill>
                <a:ea typeface="+mn-lt"/>
                <a:cs typeface="+mn-lt"/>
              </a:endParaRPr>
            </a:p>
          </p:txBody>
        </p:sp>
        <p:grpSp>
          <p:nvGrpSpPr>
            <p:cNvPr id="116" name="Group 115">
              <a:extLst>
                <a:ext uri="{FF2B5EF4-FFF2-40B4-BE49-F238E27FC236}">
                  <a16:creationId xmlns:a16="http://schemas.microsoft.com/office/drawing/2014/main" id="{BA7C836A-DA15-44F2-B894-E577794C6876}"/>
                </a:ext>
              </a:extLst>
            </p:cNvPr>
            <p:cNvGrpSpPr/>
            <p:nvPr/>
          </p:nvGrpSpPr>
          <p:grpSpPr>
            <a:xfrm>
              <a:off x="730757" y="3749450"/>
              <a:ext cx="326112" cy="326112"/>
              <a:chOff x="115497" y="1864737"/>
              <a:chExt cx="461744" cy="461744"/>
            </a:xfrm>
            <a:solidFill>
              <a:schemeClr val="tx2"/>
            </a:solidFill>
          </p:grpSpPr>
          <p:sp>
            <p:nvSpPr>
              <p:cNvPr id="117" name="Freeform: Shape 116">
                <a:extLst>
                  <a:ext uri="{FF2B5EF4-FFF2-40B4-BE49-F238E27FC236}">
                    <a16:creationId xmlns:a16="http://schemas.microsoft.com/office/drawing/2014/main" id="{049335D5-C284-44A2-A891-E27552C6306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8" name="Graphic 77">
                <a:extLst>
                  <a:ext uri="{FF2B5EF4-FFF2-40B4-BE49-F238E27FC236}">
                    <a16:creationId xmlns:a16="http://schemas.microsoft.com/office/drawing/2014/main" id="{1C452355-97E6-46AF-AAFF-546347365A2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pic>
        <p:nvPicPr>
          <p:cNvPr id="4" name="Picture 3">
            <a:extLst>
              <a:ext uri="{FF2B5EF4-FFF2-40B4-BE49-F238E27FC236}">
                <a16:creationId xmlns:a16="http://schemas.microsoft.com/office/drawing/2014/main" id="{D253333D-BE2E-42F7-B89B-0CBCDB98B40C}"/>
              </a:ext>
            </a:extLst>
          </p:cNvPr>
          <p:cNvPicPr>
            <a:picLocks noChangeAspect="1"/>
          </p:cNvPicPr>
          <p:nvPr/>
        </p:nvPicPr>
        <p:blipFill>
          <a:blip r:embed="rId3"/>
          <a:stretch>
            <a:fillRect/>
          </a:stretch>
        </p:blipFill>
        <p:spPr>
          <a:xfrm>
            <a:off x="643855" y="1171891"/>
            <a:ext cx="499915" cy="506012"/>
          </a:xfrm>
          <a:prstGeom prst="rect">
            <a:avLst/>
          </a:prstGeom>
        </p:spPr>
      </p:pic>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0D7E0-D5FA-4A86-93CD-A73C19FDE61A}"/>
              </a:ext>
            </a:extLst>
          </p:cNvPr>
          <p:cNvSpPr>
            <a:spLocks noGrp="1"/>
          </p:cNvSpPr>
          <p:nvPr>
            <p:ph type="title"/>
          </p:nvPr>
        </p:nvSpPr>
        <p:spPr/>
        <p:txBody>
          <a:bodyPr/>
          <a:lstStyle/>
          <a:p>
            <a:r>
              <a:rPr lang="en-GB" dirty="0">
                <a:solidFill>
                  <a:schemeClr val="bg2">
                    <a:lumMod val="10000"/>
                  </a:schemeClr>
                </a:solidFill>
              </a:rPr>
              <a:t>Instructions for customer and partner</a:t>
            </a:r>
          </a:p>
        </p:txBody>
      </p:sp>
      <p:grpSp>
        <p:nvGrpSpPr>
          <p:cNvPr id="14" name="Group 13">
            <a:extLst>
              <a:ext uri="{FF2B5EF4-FFF2-40B4-BE49-F238E27FC236}">
                <a16:creationId xmlns:a16="http://schemas.microsoft.com/office/drawing/2014/main" id="{539AA6D0-2D2F-465A-8422-94D5CAB8CD89}"/>
              </a:ext>
            </a:extLst>
          </p:cNvPr>
          <p:cNvGrpSpPr/>
          <p:nvPr/>
        </p:nvGrpSpPr>
        <p:grpSpPr>
          <a:xfrm>
            <a:off x="269238" y="3106499"/>
            <a:ext cx="8947503" cy="522386"/>
            <a:chOff x="506805" y="1895263"/>
            <a:chExt cx="8947503" cy="522386"/>
          </a:xfrm>
        </p:grpSpPr>
        <p:sp>
          <p:nvSpPr>
            <p:cNvPr id="15" name="Rectangle 14">
              <a:extLst>
                <a:ext uri="{FF2B5EF4-FFF2-40B4-BE49-F238E27FC236}">
                  <a16:creationId xmlns:a16="http://schemas.microsoft.com/office/drawing/2014/main" id="{CBDE199F-738C-48F9-B2A1-07D56F822D7E}"/>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Extend topic area slides to capture the required information if needed. </a:t>
              </a:r>
              <a:br>
                <a:rPr lang="en-GB" sz="1600" dirty="0">
                  <a:solidFill>
                    <a:schemeClr val="bg2">
                      <a:lumMod val="10000"/>
                    </a:schemeClr>
                  </a:solidFill>
                </a:rPr>
              </a:br>
              <a:r>
                <a:rPr lang="en-GB" sz="1600" dirty="0">
                  <a:solidFill>
                    <a:schemeClr val="bg2">
                      <a:lumMod val="10000"/>
                    </a:schemeClr>
                  </a:solidFill>
                </a:rPr>
                <a:t>Do not hesitate to paste your own slides.</a:t>
              </a:r>
            </a:p>
          </p:txBody>
        </p:sp>
        <p:grpSp>
          <p:nvGrpSpPr>
            <p:cNvPr id="16" name="Group 15">
              <a:extLst>
                <a:ext uri="{FF2B5EF4-FFF2-40B4-BE49-F238E27FC236}">
                  <a16:creationId xmlns:a16="http://schemas.microsoft.com/office/drawing/2014/main" id="{DB765834-44B4-4D59-B96A-4D07BD372023}"/>
                </a:ext>
              </a:extLst>
            </p:cNvPr>
            <p:cNvGrpSpPr/>
            <p:nvPr/>
          </p:nvGrpSpPr>
          <p:grpSpPr>
            <a:xfrm>
              <a:off x="730757" y="1993400"/>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E2F1FDBB-D7C2-4066-81A0-81490BE00D9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A01E7263-0BFC-4A6C-B35E-F66DA3B777A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72EB8C5C-B697-4A72-B004-8BB13B09543F}"/>
              </a:ext>
            </a:extLst>
          </p:cNvPr>
          <p:cNvGrpSpPr/>
          <p:nvPr/>
        </p:nvGrpSpPr>
        <p:grpSpPr>
          <a:xfrm>
            <a:off x="262069" y="3951355"/>
            <a:ext cx="8947503" cy="522386"/>
            <a:chOff x="506805" y="1895263"/>
            <a:chExt cx="8947503" cy="522386"/>
          </a:xfrm>
        </p:grpSpPr>
        <p:sp>
          <p:nvSpPr>
            <p:cNvPr id="20" name="Rectangle 19">
              <a:extLst>
                <a:ext uri="{FF2B5EF4-FFF2-40B4-BE49-F238E27FC236}">
                  <a16:creationId xmlns:a16="http://schemas.microsoft.com/office/drawing/2014/main" id="{A76BCD27-A91E-41A2-9AE0-9E606EDC08EC}"/>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Reach out to your FastTrack SA if you have questions on the format or content.</a:t>
              </a:r>
            </a:p>
          </p:txBody>
        </p:sp>
        <p:grpSp>
          <p:nvGrpSpPr>
            <p:cNvPr id="21" name="Group 20">
              <a:extLst>
                <a:ext uri="{FF2B5EF4-FFF2-40B4-BE49-F238E27FC236}">
                  <a16:creationId xmlns:a16="http://schemas.microsoft.com/office/drawing/2014/main" id="{5DC9501F-FA35-4CBA-820A-25888A78563D}"/>
                </a:ext>
              </a:extLst>
            </p:cNvPr>
            <p:cNvGrpSpPr/>
            <p:nvPr/>
          </p:nvGrpSpPr>
          <p:grpSpPr>
            <a:xfrm>
              <a:off x="730757" y="1993400"/>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9E0600C6-02CC-44C6-993F-A119D0FFBD9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25D287C0-19E5-462B-89A8-CC5EE45568D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sp>
        <p:nvSpPr>
          <p:cNvPr id="26" name="Rectangle 25">
            <a:extLst>
              <a:ext uri="{FF2B5EF4-FFF2-40B4-BE49-F238E27FC236}">
                <a16:creationId xmlns:a16="http://schemas.microsoft.com/office/drawing/2014/main" id="{663C5757-1699-4EEC-B106-3EDCEBC77B60}"/>
              </a:ext>
            </a:extLst>
          </p:cNvPr>
          <p:cNvSpPr/>
          <p:nvPr/>
        </p:nvSpPr>
        <p:spPr>
          <a:xfrm>
            <a:off x="1500052" y="1374543"/>
            <a:ext cx="10425027"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GB" sz="2000" dirty="0">
                <a:ln w="3175">
                  <a:noFill/>
                </a:ln>
                <a:solidFill>
                  <a:srgbClr val="0B5569"/>
                </a:solidFill>
                <a:latin typeface="Segoe UI Semibold"/>
                <a:cs typeface="Segoe UI" pitchFamily="34" charset="0"/>
              </a:rPr>
              <a:t>How to fill out this PowerPoint</a:t>
            </a:r>
          </a:p>
        </p:txBody>
      </p:sp>
      <p:sp>
        <p:nvSpPr>
          <p:cNvPr id="27" name="Rectangle: Rounded Corners 14">
            <a:extLst>
              <a:ext uri="{FF2B5EF4-FFF2-40B4-BE49-F238E27FC236}">
                <a16:creationId xmlns:a16="http://schemas.microsoft.com/office/drawing/2014/main" id="{DCE5A92F-C92B-4F66-874C-5662BB0FE97E}"/>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29C32889-46E6-46E1-BDDB-F4E1B89101CC}"/>
              </a:ext>
            </a:extLst>
          </p:cNvPr>
          <p:cNvCxnSpPr>
            <a:cxnSpLocks/>
          </p:cNvCxnSpPr>
          <p:nvPr/>
        </p:nvCxnSpPr>
        <p:spPr>
          <a:xfrm>
            <a:off x="1" y="1858175"/>
            <a:ext cx="11925078"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A18C31A7-AD4B-4BE1-8AC5-ADCFF446E1DA}"/>
              </a:ext>
            </a:extLst>
          </p:cNvPr>
          <p:cNvGrpSpPr/>
          <p:nvPr/>
        </p:nvGrpSpPr>
        <p:grpSpPr>
          <a:xfrm>
            <a:off x="269237" y="4788119"/>
            <a:ext cx="8947503" cy="522386"/>
            <a:chOff x="506805" y="1895263"/>
            <a:chExt cx="8947503" cy="522386"/>
          </a:xfrm>
        </p:grpSpPr>
        <p:sp>
          <p:nvSpPr>
            <p:cNvPr id="39" name="Rectangle 38">
              <a:extLst>
                <a:ext uri="{FF2B5EF4-FFF2-40B4-BE49-F238E27FC236}">
                  <a16:creationId xmlns:a16="http://schemas.microsoft.com/office/drawing/2014/main" id="{E5320018-A66E-49D1-8E50-32D3EBB61CB8}"/>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Send completed deck back to the FastTrack SA 5 business day before the scheduled Gap Solution Design workshop</a:t>
              </a:r>
            </a:p>
          </p:txBody>
        </p:sp>
        <p:grpSp>
          <p:nvGrpSpPr>
            <p:cNvPr id="40" name="Group 39">
              <a:extLst>
                <a:ext uri="{FF2B5EF4-FFF2-40B4-BE49-F238E27FC236}">
                  <a16:creationId xmlns:a16="http://schemas.microsoft.com/office/drawing/2014/main" id="{FC462B02-7CD8-48DF-B448-363F78DD6D5A}"/>
                </a:ext>
              </a:extLst>
            </p:cNvPr>
            <p:cNvGrpSpPr/>
            <p:nvPr/>
          </p:nvGrpSpPr>
          <p:grpSpPr>
            <a:xfrm>
              <a:off x="730757" y="1993400"/>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F1BDF2D6-0E5D-403A-9E43-BEE4486364D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574C816B-4B98-4CCA-8ABF-EB122DB6E63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73" name="Group 72">
            <a:extLst>
              <a:ext uri="{FF2B5EF4-FFF2-40B4-BE49-F238E27FC236}">
                <a16:creationId xmlns:a16="http://schemas.microsoft.com/office/drawing/2014/main" id="{AEE11099-064A-431F-8AE0-CE84BAA66EA9}"/>
              </a:ext>
            </a:extLst>
          </p:cNvPr>
          <p:cNvGrpSpPr/>
          <p:nvPr/>
        </p:nvGrpSpPr>
        <p:grpSpPr>
          <a:xfrm>
            <a:off x="300280" y="2282166"/>
            <a:ext cx="10567323" cy="522386"/>
            <a:chOff x="506804" y="1895263"/>
            <a:chExt cx="10567323" cy="522386"/>
          </a:xfrm>
        </p:grpSpPr>
        <p:sp>
          <p:nvSpPr>
            <p:cNvPr id="74" name="Rectangle 73">
              <a:extLst>
                <a:ext uri="{FF2B5EF4-FFF2-40B4-BE49-F238E27FC236}">
                  <a16:creationId xmlns:a16="http://schemas.microsoft.com/office/drawing/2014/main" id="{D6DB623E-5BE1-4E5F-B54F-B6C5E9272ED0}"/>
                </a:ext>
              </a:extLst>
            </p:cNvPr>
            <p:cNvSpPr/>
            <p:nvPr/>
          </p:nvSpPr>
          <p:spPr>
            <a:xfrm>
              <a:off x="506804" y="1895263"/>
              <a:ext cx="1056732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dirty="0">
                  <a:solidFill>
                    <a:schemeClr val="bg2">
                      <a:lumMod val="10000"/>
                    </a:schemeClr>
                  </a:solidFill>
                </a:rPr>
                <a:t>Please complete slides providing required details for each gap solution. </a:t>
              </a:r>
              <a:br>
                <a:rPr lang="en-GB" sz="1600" dirty="0">
                  <a:solidFill>
                    <a:schemeClr val="bg2">
                      <a:lumMod val="10000"/>
                    </a:schemeClr>
                  </a:solidFill>
                </a:rPr>
              </a:br>
              <a:r>
                <a:rPr lang="en-GB" sz="1600" dirty="0">
                  <a:solidFill>
                    <a:schemeClr val="bg2">
                      <a:lumMod val="10000"/>
                    </a:schemeClr>
                  </a:solidFill>
                </a:rPr>
                <a:t>Where available, please include artifacts listed in </a:t>
              </a:r>
              <a:r>
                <a:rPr lang="en-GB" sz="1600" b="1" dirty="0">
                  <a:solidFill>
                    <a:schemeClr val="bg2">
                      <a:lumMod val="10000"/>
                    </a:schemeClr>
                  </a:solidFill>
                </a:rPr>
                <a:t>Prerequisites </a:t>
              </a:r>
              <a:r>
                <a:rPr lang="en-GB" sz="1600" dirty="0">
                  <a:solidFill>
                    <a:schemeClr val="bg2">
                      <a:lumMod val="10000"/>
                    </a:schemeClr>
                  </a:solidFill>
                </a:rPr>
                <a:t>that provide required details for each gap solution.</a:t>
              </a:r>
            </a:p>
          </p:txBody>
        </p:sp>
        <p:grpSp>
          <p:nvGrpSpPr>
            <p:cNvPr id="75" name="Group 74">
              <a:extLst>
                <a:ext uri="{FF2B5EF4-FFF2-40B4-BE49-F238E27FC236}">
                  <a16:creationId xmlns:a16="http://schemas.microsoft.com/office/drawing/2014/main" id="{6122E3BF-6C82-477D-81D5-9765B2958484}"/>
                </a:ext>
              </a:extLst>
            </p:cNvPr>
            <p:cNvGrpSpPr/>
            <p:nvPr/>
          </p:nvGrpSpPr>
          <p:grpSpPr>
            <a:xfrm>
              <a:off x="730757" y="1993400"/>
              <a:ext cx="326112" cy="326112"/>
              <a:chOff x="115497" y="1864737"/>
              <a:chExt cx="461744" cy="461744"/>
            </a:xfrm>
            <a:solidFill>
              <a:schemeClr val="tx2"/>
            </a:solidFill>
          </p:grpSpPr>
          <p:sp>
            <p:nvSpPr>
              <p:cNvPr id="76" name="Freeform: Shape 75">
                <a:extLst>
                  <a:ext uri="{FF2B5EF4-FFF2-40B4-BE49-F238E27FC236}">
                    <a16:creationId xmlns:a16="http://schemas.microsoft.com/office/drawing/2014/main" id="{DB01C00E-AE4F-49C2-A687-73B65EB2938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Graphic 77">
                <a:extLst>
                  <a:ext uri="{FF2B5EF4-FFF2-40B4-BE49-F238E27FC236}">
                    <a16:creationId xmlns:a16="http://schemas.microsoft.com/office/drawing/2014/main" id="{058DB4EC-92E7-4C6C-92AB-2BAE995B1F5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pic>
        <p:nvPicPr>
          <p:cNvPr id="3" name="Picture 2">
            <a:extLst>
              <a:ext uri="{FF2B5EF4-FFF2-40B4-BE49-F238E27FC236}">
                <a16:creationId xmlns:a16="http://schemas.microsoft.com/office/drawing/2014/main" id="{DCD9E98A-AD86-41BB-8A28-0F4DB189C303}"/>
              </a:ext>
            </a:extLst>
          </p:cNvPr>
          <p:cNvPicPr>
            <a:picLocks noChangeAspect="1"/>
          </p:cNvPicPr>
          <p:nvPr/>
        </p:nvPicPr>
        <p:blipFill>
          <a:blip r:embed="rId3"/>
          <a:stretch>
            <a:fillRect/>
          </a:stretch>
        </p:blipFill>
        <p:spPr>
          <a:xfrm>
            <a:off x="643855" y="1171891"/>
            <a:ext cx="499915" cy="506012"/>
          </a:xfrm>
          <a:prstGeom prst="rect">
            <a:avLst/>
          </a:prstGeom>
        </p:spPr>
      </p:pic>
    </p:spTree>
    <p:extLst>
      <p:ext uri="{BB962C8B-B14F-4D97-AF65-F5344CB8AC3E}">
        <p14:creationId xmlns:p14="http://schemas.microsoft.com/office/powerpoint/2010/main" val="331187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0D7E0-D5FA-4A86-93CD-A73C19FDE61A}"/>
              </a:ext>
            </a:extLst>
          </p:cNvPr>
          <p:cNvSpPr>
            <a:spLocks noGrp="1"/>
          </p:cNvSpPr>
          <p:nvPr>
            <p:ph type="title"/>
          </p:nvPr>
        </p:nvSpPr>
        <p:spPr/>
        <p:txBody>
          <a:bodyPr/>
          <a:lstStyle/>
          <a:p>
            <a:r>
              <a:rPr lang="en-GB" dirty="0">
                <a:solidFill>
                  <a:schemeClr val="bg2">
                    <a:lumMod val="10000"/>
                  </a:schemeClr>
                </a:solidFill>
                <a:cs typeface="Segoe UI"/>
              </a:rPr>
              <a:t>Pre-requisites</a:t>
            </a:r>
            <a:endParaRPr lang="en-GB" dirty="0">
              <a:solidFill>
                <a:schemeClr val="bg2">
                  <a:lumMod val="10000"/>
                </a:schemeClr>
              </a:solidFill>
            </a:endParaRPr>
          </a:p>
        </p:txBody>
      </p:sp>
      <p:grpSp>
        <p:nvGrpSpPr>
          <p:cNvPr id="4" name="Group 3">
            <a:extLst>
              <a:ext uri="{FF2B5EF4-FFF2-40B4-BE49-F238E27FC236}">
                <a16:creationId xmlns:a16="http://schemas.microsoft.com/office/drawing/2014/main" id="{2198C0BB-9516-4B5C-9E68-C156240CC915}"/>
              </a:ext>
            </a:extLst>
          </p:cNvPr>
          <p:cNvGrpSpPr/>
          <p:nvPr/>
        </p:nvGrpSpPr>
        <p:grpSpPr>
          <a:xfrm>
            <a:off x="269240" y="2914852"/>
            <a:ext cx="8947502" cy="522386"/>
            <a:chOff x="506805" y="1895263"/>
            <a:chExt cx="8947502" cy="522386"/>
          </a:xfrm>
        </p:grpSpPr>
        <p:sp>
          <p:nvSpPr>
            <p:cNvPr id="5" name="Rectangle 4">
              <a:extLst>
                <a:ext uri="{FF2B5EF4-FFF2-40B4-BE49-F238E27FC236}">
                  <a16:creationId xmlns:a16="http://schemas.microsoft.com/office/drawing/2014/main" id="{DCACA0F7-D8FB-43C8-8DDC-B70EB0228F25}"/>
                </a:ext>
              </a:extLst>
            </p:cNvPr>
            <p:cNvSpPr/>
            <p:nvPr/>
          </p:nvSpPr>
          <p:spPr>
            <a:xfrm>
              <a:off x="506805" y="1895263"/>
              <a:ext cx="894750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Fit/Gap Analysis Documents (</a:t>
              </a:r>
              <a:r>
                <a:rPr lang="en-GB" sz="1600" b="1" dirty="0">
                  <a:solidFill>
                    <a:schemeClr val="bg2">
                      <a:lumMod val="10000"/>
                    </a:schemeClr>
                  </a:solidFill>
                </a:rPr>
                <a:t>Learn</a:t>
              </a:r>
              <a:r>
                <a:rPr lang="en-GB" sz="1600" dirty="0">
                  <a:solidFill>
                    <a:schemeClr val="bg2">
                      <a:lumMod val="10000"/>
                    </a:schemeClr>
                  </a:solidFill>
                </a:rPr>
                <a:t>: </a:t>
              </a:r>
              <a:r>
                <a:rPr lang="en-GB" sz="1600" dirty="0">
                  <a:solidFill>
                    <a:schemeClr val="tx1"/>
                  </a:solidFill>
                  <a:hlinkClick r:id="rId3"/>
                </a:rPr>
                <a:t>Perform fit gap analysis</a:t>
              </a:r>
              <a:r>
                <a:rPr lang="en-GB" sz="1600" dirty="0">
                  <a:solidFill>
                    <a:schemeClr val="tx1"/>
                  </a:solidFill>
                </a:rPr>
                <a:t>)</a:t>
              </a:r>
            </a:p>
          </p:txBody>
        </p:sp>
        <p:grpSp>
          <p:nvGrpSpPr>
            <p:cNvPr id="6" name="Group 5">
              <a:extLst>
                <a:ext uri="{FF2B5EF4-FFF2-40B4-BE49-F238E27FC236}">
                  <a16:creationId xmlns:a16="http://schemas.microsoft.com/office/drawing/2014/main" id="{CA703E1C-CB8D-4A0E-8619-2048FA9A9646}"/>
                </a:ext>
              </a:extLst>
            </p:cNvPr>
            <p:cNvGrpSpPr/>
            <p:nvPr/>
          </p:nvGrpSpPr>
          <p:grpSpPr>
            <a:xfrm>
              <a:off x="730757" y="1993400"/>
              <a:ext cx="326112" cy="326112"/>
              <a:chOff x="115497" y="1864737"/>
              <a:chExt cx="461744" cy="461744"/>
            </a:xfrm>
            <a:solidFill>
              <a:schemeClr val="tx2"/>
            </a:solidFill>
          </p:grpSpPr>
          <p:sp>
            <p:nvSpPr>
              <p:cNvPr id="7" name="Freeform: Shape 6">
                <a:extLst>
                  <a:ext uri="{FF2B5EF4-FFF2-40B4-BE49-F238E27FC236}">
                    <a16:creationId xmlns:a16="http://schemas.microsoft.com/office/drawing/2014/main" id="{980DCD9E-1565-480F-8834-1FCB8FB7778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Graphic 77">
                <a:extLst>
                  <a:ext uri="{FF2B5EF4-FFF2-40B4-BE49-F238E27FC236}">
                    <a16:creationId xmlns:a16="http://schemas.microsoft.com/office/drawing/2014/main" id="{65DC38E7-D6C8-4469-BB7C-74D5DA5F6A8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14" name="Group 13">
            <a:extLst>
              <a:ext uri="{FF2B5EF4-FFF2-40B4-BE49-F238E27FC236}">
                <a16:creationId xmlns:a16="http://schemas.microsoft.com/office/drawing/2014/main" id="{539AA6D0-2D2F-465A-8422-94D5CAB8CD89}"/>
              </a:ext>
            </a:extLst>
          </p:cNvPr>
          <p:cNvGrpSpPr/>
          <p:nvPr/>
        </p:nvGrpSpPr>
        <p:grpSpPr>
          <a:xfrm>
            <a:off x="269238" y="3535375"/>
            <a:ext cx="8947503" cy="522386"/>
            <a:chOff x="506805" y="1895263"/>
            <a:chExt cx="8947503" cy="522386"/>
          </a:xfrm>
        </p:grpSpPr>
        <p:sp>
          <p:nvSpPr>
            <p:cNvPr id="15" name="Rectangle 14">
              <a:extLst>
                <a:ext uri="{FF2B5EF4-FFF2-40B4-BE49-F238E27FC236}">
                  <a16:creationId xmlns:a16="http://schemas.microsoft.com/office/drawing/2014/main" id="{CBDE199F-738C-48F9-B2A1-07D56F822D7E}"/>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Functional Design Documents (</a:t>
              </a:r>
              <a:r>
                <a:rPr lang="en-GB" sz="1600" b="1" dirty="0">
                  <a:solidFill>
                    <a:schemeClr val="bg2">
                      <a:lumMod val="10000"/>
                    </a:schemeClr>
                  </a:solidFill>
                </a:rPr>
                <a:t>Learn</a:t>
              </a:r>
              <a:r>
                <a:rPr lang="en-GB" sz="1600" dirty="0">
                  <a:solidFill>
                    <a:schemeClr val="bg2">
                      <a:lumMod val="10000"/>
                    </a:schemeClr>
                  </a:solidFill>
                </a:rPr>
                <a:t>: </a:t>
              </a:r>
              <a:r>
                <a:rPr lang="en-GB" sz="1600" dirty="0">
                  <a:solidFill>
                    <a:schemeClr val="tx1"/>
                  </a:solidFill>
                  <a:hlinkClick r:id="rId4"/>
                </a:rPr>
                <a:t>Create functional design documents (FDD)</a:t>
              </a:r>
              <a:r>
                <a:rPr lang="en-GB" sz="1600" dirty="0">
                  <a:solidFill>
                    <a:schemeClr val="tx1"/>
                  </a:solidFill>
                </a:rPr>
                <a:t>) </a:t>
              </a:r>
            </a:p>
          </p:txBody>
        </p:sp>
        <p:grpSp>
          <p:nvGrpSpPr>
            <p:cNvPr id="16" name="Group 15">
              <a:extLst>
                <a:ext uri="{FF2B5EF4-FFF2-40B4-BE49-F238E27FC236}">
                  <a16:creationId xmlns:a16="http://schemas.microsoft.com/office/drawing/2014/main" id="{DB765834-44B4-4D59-B96A-4D07BD372023}"/>
                </a:ext>
              </a:extLst>
            </p:cNvPr>
            <p:cNvGrpSpPr/>
            <p:nvPr/>
          </p:nvGrpSpPr>
          <p:grpSpPr>
            <a:xfrm>
              <a:off x="730757" y="1993400"/>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E2F1FDBB-D7C2-4066-81A0-81490BE00D9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A01E7263-0BFC-4A6C-B35E-F66DA3B777A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72EB8C5C-B697-4A72-B004-8BB13B09543F}"/>
              </a:ext>
            </a:extLst>
          </p:cNvPr>
          <p:cNvGrpSpPr/>
          <p:nvPr/>
        </p:nvGrpSpPr>
        <p:grpSpPr>
          <a:xfrm>
            <a:off x="262069" y="4153655"/>
            <a:ext cx="8947503" cy="522386"/>
            <a:chOff x="506805" y="1895263"/>
            <a:chExt cx="8947503" cy="522386"/>
          </a:xfrm>
        </p:grpSpPr>
        <p:sp>
          <p:nvSpPr>
            <p:cNvPr id="20" name="Rectangle 19">
              <a:extLst>
                <a:ext uri="{FF2B5EF4-FFF2-40B4-BE49-F238E27FC236}">
                  <a16:creationId xmlns:a16="http://schemas.microsoft.com/office/drawing/2014/main" id="{A76BCD27-A91E-41A2-9AE0-9E606EDC08EC}"/>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Technical Design Documents </a:t>
              </a:r>
            </a:p>
          </p:txBody>
        </p:sp>
        <p:grpSp>
          <p:nvGrpSpPr>
            <p:cNvPr id="21" name="Group 20">
              <a:extLst>
                <a:ext uri="{FF2B5EF4-FFF2-40B4-BE49-F238E27FC236}">
                  <a16:creationId xmlns:a16="http://schemas.microsoft.com/office/drawing/2014/main" id="{5DC9501F-FA35-4CBA-820A-25888A78563D}"/>
                </a:ext>
              </a:extLst>
            </p:cNvPr>
            <p:cNvGrpSpPr/>
            <p:nvPr/>
          </p:nvGrpSpPr>
          <p:grpSpPr>
            <a:xfrm>
              <a:off x="730757" y="1993400"/>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9E0600C6-02CC-44C6-993F-A119D0FFBD9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25D287C0-19E5-462B-89A8-CC5EE45568D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sp>
        <p:nvSpPr>
          <p:cNvPr id="26" name="Rectangle 25">
            <a:extLst>
              <a:ext uri="{FF2B5EF4-FFF2-40B4-BE49-F238E27FC236}">
                <a16:creationId xmlns:a16="http://schemas.microsoft.com/office/drawing/2014/main" id="{663C5757-1699-4EEC-B106-3EDCEBC77B60}"/>
              </a:ext>
            </a:extLst>
          </p:cNvPr>
          <p:cNvSpPr/>
          <p:nvPr/>
        </p:nvSpPr>
        <p:spPr>
          <a:xfrm>
            <a:off x="1500052" y="1374543"/>
            <a:ext cx="10425027"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GB" sz="2000" dirty="0">
                <a:ln w="3175">
                  <a:noFill/>
                </a:ln>
                <a:solidFill>
                  <a:srgbClr val="0B5569"/>
                </a:solidFill>
                <a:latin typeface="Segoe UI Semibold"/>
                <a:cs typeface="Segoe UI" pitchFamily="34" charset="0"/>
              </a:rPr>
              <a:t>Please provide below documentation where available/appropriate</a:t>
            </a:r>
          </a:p>
        </p:txBody>
      </p:sp>
      <p:sp>
        <p:nvSpPr>
          <p:cNvPr id="27" name="Rectangle: Rounded Corners 14">
            <a:extLst>
              <a:ext uri="{FF2B5EF4-FFF2-40B4-BE49-F238E27FC236}">
                <a16:creationId xmlns:a16="http://schemas.microsoft.com/office/drawing/2014/main" id="{DCE5A92F-C92B-4F66-874C-5662BB0FE97E}"/>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29C32889-46E6-46E1-BDDB-F4E1B89101CC}"/>
              </a:ext>
            </a:extLst>
          </p:cNvPr>
          <p:cNvCxnSpPr>
            <a:cxnSpLocks/>
          </p:cNvCxnSpPr>
          <p:nvPr/>
        </p:nvCxnSpPr>
        <p:spPr>
          <a:xfrm>
            <a:off x="1" y="1858175"/>
            <a:ext cx="11925078"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A18C31A7-AD4B-4BE1-8AC5-ADCFF446E1DA}"/>
              </a:ext>
            </a:extLst>
          </p:cNvPr>
          <p:cNvGrpSpPr/>
          <p:nvPr/>
        </p:nvGrpSpPr>
        <p:grpSpPr>
          <a:xfrm>
            <a:off x="269237" y="4771935"/>
            <a:ext cx="8947503" cy="522386"/>
            <a:chOff x="506805" y="1895263"/>
            <a:chExt cx="8947503" cy="522386"/>
          </a:xfrm>
        </p:grpSpPr>
        <p:sp>
          <p:nvSpPr>
            <p:cNvPr id="39" name="Rectangle 38">
              <a:extLst>
                <a:ext uri="{FF2B5EF4-FFF2-40B4-BE49-F238E27FC236}">
                  <a16:creationId xmlns:a16="http://schemas.microsoft.com/office/drawing/2014/main" id="{E5320018-A66E-49D1-8E50-32D3EBB61CB8}"/>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Business Process Diagram</a:t>
              </a:r>
            </a:p>
          </p:txBody>
        </p:sp>
        <p:grpSp>
          <p:nvGrpSpPr>
            <p:cNvPr id="40" name="Group 39">
              <a:extLst>
                <a:ext uri="{FF2B5EF4-FFF2-40B4-BE49-F238E27FC236}">
                  <a16:creationId xmlns:a16="http://schemas.microsoft.com/office/drawing/2014/main" id="{FC462B02-7CD8-48DF-B448-363F78DD6D5A}"/>
                </a:ext>
              </a:extLst>
            </p:cNvPr>
            <p:cNvGrpSpPr/>
            <p:nvPr/>
          </p:nvGrpSpPr>
          <p:grpSpPr>
            <a:xfrm>
              <a:off x="730757" y="1993400"/>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F1BDF2D6-0E5D-403A-9E43-BEE4486364D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574C816B-4B98-4CCA-8ABF-EB122DB6E63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43" name="Group 42">
            <a:extLst>
              <a:ext uri="{FF2B5EF4-FFF2-40B4-BE49-F238E27FC236}">
                <a16:creationId xmlns:a16="http://schemas.microsoft.com/office/drawing/2014/main" id="{97466D78-8CAC-4A75-8E32-811CF67024FD}"/>
              </a:ext>
            </a:extLst>
          </p:cNvPr>
          <p:cNvGrpSpPr/>
          <p:nvPr/>
        </p:nvGrpSpPr>
        <p:grpSpPr>
          <a:xfrm>
            <a:off x="293601" y="5390215"/>
            <a:ext cx="8947503" cy="522386"/>
            <a:chOff x="506805" y="1895263"/>
            <a:chExt cx="8947503" cy="522386"/>
          </a:xfrm>
        </p:grpSpPr>
        <p:sp>
          <p:nvSpPr>
            <p:cNvPr id="44" name="Rectangle 43">
              <a:extLst>
                <a:ext uri="{FF2B5EF4-FFF2-40B4-BE49-F238E27FC236}">
                  <a16:creationId xmlns:a16="http://schemas.microsoft.com/office/drawing/2014/main" id="{5E860710-747A-4001-8935-A914C88E7E60}"/>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bg2">
                      <a:lumMod val="10000"/>
                    </a:schemeClr>
                  </a:solidFill>
                </a:rPr>
                <a:t>Integration Diagram</a:t>
              </a:r>
            </a:p>
          </p:txBody>
        </p:sp>
        <p:grpSp>
          <p:nvGrpSpPr>
            <p:cNvPr id="45" name="Group 44">
              <a:extLst>
                <a:ext uri="{FF2B5EF4-FFF2-40B4-BE49-F238E27FC236}">
                  <a16:creationId xmlns:a16="http://schemas.microsoft.com/office/drawing/2014/main" id="{57EAAE2B-1B68-4BD9-9498-845ADE64CE64}"/>
                </a:ext>
              </a:extLst>
            </p:cNvPr>
            <p:cNvGrpSpPr/>
            <p:nvPr/>
          </p:nvGrpSpPr>
          <p:grpSpPr>
            <a:xfrm>
              <a:off x="730757" y="1993400"/>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353848C8-DF97-4DEC-B8C8-C4E1F940333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9B2B3A3C-B681-48F8-8030-86924AEF7F7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grpSp>
        <p:nvGrpSpPr>
          <p:cNvPr id="73" name="Group 72">
            <a:extLst>
              <a:ext uri="{FF2B5EF4-FFF2-40B4-BE49-F238E27FC236}">
                <a16:creationId xmlns:a16="http://schemas.microsoft.com/office/drawing/2014/main" id="{AEE11099-064A-431F-8AE0-CE84BAA66EA9}"/>
              </a:ext>
            </a:extLst>
          </p:cNvPr>
          <p:cNvGrpSpPr/>
          <p:nvPr/>
        </p:nvGrpSpPr>
        <p:grpSpPr>
          <a:xfrm>
            <a:off x="263558" y="2284343"/>
            <a:ext cx="8947502" cy="522386"/>
            <a:chOff x="506805" y="1895263"/>
            <a:chExt cx="8947502" cy="522386"/>
          </a:xfrm>
        </p:grpSpPr>
        <p:sp>
          <p:nvSpPr>
            <p:cNvPr id="74" name="Rectangle 73">
              <a:extLst>
                <a:ext uri="{FF2B5EF4-FFF2-40B4-BE49-F238E27FC236}">
                  <a16:creationId xmlns:a16="http://schemas.microsoft.com/office/drawing/2014/main" id="{D6DB623E-5BE1-4E5F-B54F-B6C5E9272ED0}"/>
                </a:ext>
              </a:extLst>
            </p:cNvPr>
            <p:cNvSpPr/>
            <p:nvPr/>
          </p:nvSpPr>
          <p:spPr>
            <a:xfrm>
              <a:off x="506805" y="1895263"/>
              <a:ext cx="894750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dirty="0">
                  <a:solidFill>
                    <a:schemeClr val="bg2">
                      <a:lumMod val="10000"/>
                    </a:schemeClr>
                  </a:solidFill>
                  <a:cs typeface="Segoe UI"/>
                </a:rPr>
                <a:t>Gap Solution Documents</a:t>
              </a:r>
            </a:p>
          </p:txBody>
        </p:sp>
        <p:grpSp>
          <p:nvGrpSpPr>
            <p:cNvPr id="75" name="Group 74">
              <a:extLst>
                <a:ext uri="{FF2B5EF4-FFF2-40B4-BE49-F238E27FC236}">
                  <a16:creationId xmlns:a16="http://schemas.microsoft.com/office/drawing/2014/main" id="{6122E3BF-6C82-477D-81D5-9765B2958484}"/>
                </a:ext>
              </a:extLst>
            </p:cNvPr>
            <p:cNvGrpSpPr/>
            <p:nvPr/>
          </p:nvGrpSpPr>
          <p:grpSpPr>
            <a:xfrm>
              <a:off x="730757" y="1993400"/>
              <a:ext cx="326112" cy="326112"/>
              <a:chOff x="115497" y="1864737"/>
              <a:chExt cx="461744" cy="461744"/>
            </a:xfrm>
            <a:solidFill>
              <a:schemeClr val="tx2"/>
            </a:solidFill>
          </p:grpSpPr>
          <p:sp>
            <p:nvSpPr>
              <p:cNvPr id="76" name="Freeform: Shape 75">
                <a:extLst>
                  <a:ext uri="{FF2B5EF4-FFF2-40B4-BE49-F238E27FC236}">
                    <a16:creationId xmlns:a16="http://schemas.microsoft.com/office/drawing/2014/main" id="{DB01C00E-AE4F-49C2-A687-73B65EB2938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Graphic 77">
                <a:extLst>
                  <a:ext uri="{FF2B5EF4-FFF2-40B4-BE49-F238E27FC236}">
                    <a16:creationId xmlns:a16="http://schemas.microsoft.com/office/drawing/2014/main" id="{058DB4EC-92E7-4C6C-92AB-2BAE995B1F5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pic>
        <p:nvPicPr>
          <p:cNvPr id="3" name="Picture 2">
            <a:extLst>
              <a:ext uri="{FF2B5EF4-FFF2-40B4-BE49-F238E27FC236}">
                <a16:creationId xmlns:a16="http://schemas.microsoft.com/office/drawing/2014/main" id="{07248DFC-1F47-433A-8649-27373306CA4D}"/>
              </a:ext>
            </a:extLst>
          </p:cNvPr>
          <p:cNvPicPr>
            <a:picLocks noChangeAspect="1"/>
          </p:cNvPicPr>
          <p:nvPr/>
        </p:nvPicPr>
        <p:blipFill>
          <a:blip r:embed="rId5"/>
          <a:stretch>
            <a:fillRect/>
          </a:stretch>
        </p:blipFill>
        <p:spPr>
          <a:xfrm>
            <a:off x="643855" y="1171891"/>
            <a:ext cx="499915" cy="506012"/>
          </a:xfrm>
          <a:prstGeom prst="rect">
            <a:avLst/>
          </a:prstGeom>
        </p:spPr>
      </p:pic>
    </p:spTree>
    <p:extLst>
      <p:ext uri="{BB962C8B-B14F-4D97-AF65-F5344CB8AC3E}">
        <p14:creationId xmlns:p14="http://schemas.microsoft.com/office/powerpoint/2010/main" val="274497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solidFill>
                  <a:schemeClr val="bg2">
                    <a:lumMod val="10000"/>
                  </a:schemeClr>
                </a:solidFill>
                <a:cs typeface="Segoe UI"/>
              </a:rPr>
              <a:t>Top gaps / solutions</a:t>
            </a:r>
            <a:endParaRPr lang="en-GB" dirty="0">
              <a:solidFill>
                <a:schemeClr val="bg2">
                  <a:lumMod val="10000"/>
                </a:schemeClr>
              </a:solidFill>
            </a:endParaRP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bg2">
                      <a:lumMod val="10000"/>
                    </a:schemeClr>
                  </a:solidFill>
                </a:rPr>
                <a:t>List the main gap solutions </a:t>
              </a:r>
              <a:r>
                <a:rPr lang="en-GB" sz="1600" b="0" i="0" dirty="0">
                  <a:solidFill>
                    <a:schemeClr val="bg2">
                      <a:lumMod val="10000"/>
                    </a:schemeClr>
                  </a:solidFill>
                  <a:effectLst/>
                  <a:latin typeface="Arial"/>
                  <a:cs typeface="Arial"/>
                </a:rPr>
                <a:t>in terms of complexity and potential risks. Describe the solution.</a:t>
              </a:r>
              <a:endParaRPr lang="en-GB" sz="1600" dirty="0">
                <a:solidFill>
                  <a:schemeClr val="bg2">
                    <a:lumMod val="10000"/>
                  </a:schemeClr>
                </a:solidFill>
                <a:highlight>
                  <a:srgbClr val="FFFF00"/>
                </a:highlight>
                <a:latin typeface="Arial"/>
                <a:cs typeface="Arial"/>
              </a:endParaRP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rgbClr val="0B55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9"/>
              </a:solidFill>
              <a:ln w="6572" cap="flat">
                <a:noFill/>
                <a:prstDash val="solid"/>
                <a:miter/>
              </a:ln>
            </p:spPr>
            <p:txBody>
              <a:bodyPr rtlCol="0" anchor="ctr"/>
              <a:lstStyle/>
              <a:p>
                <a:endParaRPr lang="en-US"/>
              </a:p>
            </p:txBody>
          </p:sp>
        </p:grpSp>
      </p:gr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aphicFrame>
        <p:nvGraphicFramePr>
          <p:cNvPr id="4" name="Table 3">
            <a:extLst>
              <a:ext uri="{FF2B5EF4-FFF2-40B4-BE49-F238E27FC236}">
                <a16:creationId xmlns:a16="http://schemas.microsoft.com/office/drawing/2014/main" id="{9E04F86D-C834-4ACE-86A6-012EE8D90DEB}"/>
              </a:ext>
            </a:extLst>
          </p:cNvPr>
          <p:cNvGraphicFramePr>
            <a:graphicFrameLocks noGrp="1"/>
          </p:cNvGraphicFramePr>
          <p:nvPr>
            <p:extLst>
              <p:ext uri="{D42A27DB-BD31-4B8C-83A1-F6EECF244321}">
                <p14:modId xmlns:p14="http://schemas.microsoft.com/office/powerpoint/2010/main" val="3128635957"/>
              </p:ext>
            </p:extLst>
          </p:nvPr>
        </p:nvGraphicFramePr>
        <p:xfrm>
          <a:off x="269240" y="1809699"/>
          <a:ext cx="11655839" cy="3948849"/>
        </p:xfrm>
        <a:graphic>
          <a:graphicData uri="http://schemas.openxmlformats.org/drawingml/2006/table">
            <a:tbl>
              <a:tblPr>
                <a:tableStyleId>{5C22544A-7EE6-4342-B048-85BDC9FD1C3A}</a:tableStyleId>
              </a:tblPr>
              <a:tblGrid>
                <a:gridCol w="2026285">
                  <a:extLst>
                    <a:ext uri="{9D8B030D-6E8A-4147-A177-3AD203B41FA5}">
                      <a16:colId xmlns:a16="http://schemas.microsoft.com/office/drawing/2014/main" val="4084693508"/>
                    </a:ext>
                  </a:extLst>
                </a:gridCol>
                <a:gridCol w="1543049">
                  <a:extLst>
                    <a:ext uri="{9D8B030D-6E8A-4147-A177-3AD203B41FA5}">
                      <a16:colId xmlns:a16="http://schemas.microsoft.com/office/drawing/2014/main" val="2729363915"/>
                    </a:ext>
                  </a:extLst>
                </a:gridCol>
                <a:gridCol w="782134">
                  <a:extLst>
                    <a:ext uri="{9D8B030D-6E8A-4147-A177-3AD203B41FA5}">
                      <a16:colId xmlns:a16="http://schemas.microsoft.com/office/drawing/2014/main" val="4143064710"/>
                    </a:ext>
                  </a:extLst>
                </a:gridCol>
                <a:gridCol w="875216">
                  <a:extLst>
                    <a:ext uri="{9D8B030D-6E8A-4147-A177-3AD203B41FA5}">
                      <a16:colId xmlns:a16="http://schemas.microsoft.com/office/drawing/2014/main" val="2405495439"/>
                    </a:ext>
                  </a:extLst>
                </a:gridCol>
                <a:gridCol w="2810561">
                  <a:extLst>
                    <a:ext uri="{9D8B030D-6E8A-4147-A177-3AD203B41FA5}">
                      <a16:colId xmlns:a16="http://schemas.microsoft.com/office/drawing/2014/main" val="753412264"/>
                    </a:ext>
                  </a:extLst>
                </a:gridCol>
                <a:gridCol w="1021613">
                  <a:extLst>
                    <a:ext uri="{9D8B030D-6E8A-4147-A177-3AD203B41FA5}">
                      <a16:colId xmlns:a16="http://schemas.microsoft.com/office/drawing/2014/main" val="1368585407"/>
                    </a:ext>
                  </a:extLst>
                </a:gridCol>
                <a:gridCol w="901963">
                  <a:extLst>
                    <a:ext uri="{9D8B030D-6E8A-4147-A177-3AD203B41FA5}">
                      <a16:colId xmlns:a16="http://schemas.microsoft.com/office/drawing/2014/main" val="3173648578"/>
                    </a:ext>
                  </a:extLst>
                </a:gridCol>
                <a:gridCol w="901965">
                  <a:extLst>
                    <a:ext uri="{9D8B030D-6E8A-4147-A177-3AD203B41FA5}">
                      <a16:colId xmlns:a16="http://schemas.microsoft.com/office/drawing/2014/main" val="3520061690"/>
                    </a:ext>
                  </a:extLst>
                </a:gridCol>
                <a:gridCol w="793053">
                  <a:extLst>
                    <a:ext uri="{9D8B030D-6E8A-4147-A177-3AD203B41FA5}">
                      <a16:colId xmlns:a16="http://schemas.microsoft.com/office/drawing/2014/main" val="4283889643"/>
                    </a:ext>
                  </a:extLst>
                </a:gridCol>
              </a:tblGrid>
              <a:tr h="589228">
                <a:tc>
                  <a:txBody>
                    <a:bodyPr/>
                    <a:lstStyle/>
                    <a:p>
                      <a:pPr marL="35560" algn="l" fontAlgn="b"/>
                      <a:r>
                        <a:rPr lang="en-GB" sz="1100" b="1" u="none" strike="noStrike" dirty="0">
                          <a:solidFill>
                            <a:schemeClr val="bg1"/>
                          </a:solidFill>
                          <a:effectLst/>
                        </a:rPr>
                        <a:t>Gap Description</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tc>
                  <a:txBody>
                    <a:bodyPr/>
                    <a:lstStyle/>
                    <a:p>
                      <a:pPr marL="35560" algn="l" fontAlgn="b"/>
                      <a:r>
                        <a:rPr lang="en-GB" sz="1100" b="1" u="none" strike="noStrike" dirty="0">
                          <a:solidFill>
                            <a:schemeClr val="bg1"/>
                          </a:solidFill>
                          <a:effectLst/>
                        </a:rPr>
                        <a:t>Related Process</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tc>
                  <a:txBody>
                    <a:bodyPr/>
                    <a:lstStyle/>
                    <a:p>
                      <a:pPr marL="35560" algn="l" fontAlgn="b"/>
                      <a:r>
                        <a:rPr lang="en-GB" sz="1100" b="1" u="none" strike="noStrike" dirty="0">
                          <a:solidFill>
                            <a:schemeClr val="bg1"/>
                          </a:solidFill>
                          <a:effectLst/>
                        </a:rPr>
                        <a:t>Standard (OOB) / ISV gap</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tc>
                  <a:txBody>
                    <a:bodyPr/>
                    <a:lstStyle/>
                    <a:p>
                      <a:pPr marL="35560" algn="l" fontAlgn="b"/>
                      <a:r>
                        <a:rPr lang="en-GB" sz="1100" b="1" u="none" strike="noStrike" dirty="0">
                          <a:solidFill>
                            <a:schemeClr val="bg1"/>
                          </a:solidFill>
                          <a:effectLst/>
                        </a:rPr>
                        <a:t>Solution</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tc>
                  <a:txBody>
                    <a:bodyPr/>
                    <a:lstStyle/>
                    <a:p>
                      <a:pPr marL="35560" algn="l" fontAlgn="b"/>
                      <a:r>
                        <a:rPr lang="en-GB" sz="1100" b="1" u="none" strike="noStrike" dirty="0">
                          <a:solidFill>
                            <a:schemeClr val="bg1"/>
                          </a:solidFill>
                          <a:effectLst/>
                        </a:rPr>
                        <a:t>Solution Description</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tc>
                  <a:txBody>
                    <a:bodyPr/>
                    <a:lstStyle/>
                    <a:p>
                      <a:pPr marL="35560" algn="l" fontAlgn="b"/>
                      <a:r>
                        <a:rPr lang="en-GB" sz="1100" b="1" i="0" u="none" strike="noStrike" dirty="0">
                          <a:solidFill>
                            <a:schemeClr val="bg1"/>
                          </a:solidFill>
                          <a:effectLst/>
                          <a:latin typeface="+mn-lt"/>
                        </a:rPr>
                        <a:t>POC Completed?</a:t>
                      </a:r>
                    </a:p>
                  </a:txBody>
                  <a:tcPr marL="0" marR="0" marT="0" marB="0" anchor="ctr">
                    <a:solidFill>
                      <a:srgbClr val="1392B3"/>
                    </a:solidFill>
                  </a:tcPr>
                </a:tc>
                <a:tc>
                  <a:txBody>
                    <a:bodyPr/>
                    <a:lstStyle/>
                    <a:p>
                      <a:pPr marL="35560" algn="l" fontAlgn="b"/>
                      <a:r>
                        <a:rPr lang="en-GB" sz="1100" b="1" i="0" u="none" strike="noStrike" dirty="0">
                          <a:solidFill>
                            <a:schemeClr val="bg1"/>
                          </a:solidFill>
                          <a:effectLst/>
                          <a:latin typeface="+mn-lt"/>
                        </a:rPr>
                        <a:t>Level of Effort</a:t>
                      </a:r>
                    </a:p>
                  </a:txBody>
                  <a:tcPr marL="0" marR="0" marT="0" marB="0" anchor="ctr">
                    <a:solidFill>
                      <a:srgbClr val="1392B3"/>
                    </a:solidFill>
                  </a:tcPr>
                </a:tc>
                <a:tc>
                  <a:txBody>
                    <a:bodyPr/>
                    <a:lstStyle/>
                    <a:p>
                      <a:pPr marL="35560" algn="l" fontAlgn="b"/>
                      <a:r>
                        <a:rPr lang="en-GB" sz="1100" b="1" u="none" strike="noStrike" dirty="0">
                          <a:solidFill>
                            <a:schemeClr val="bg1"/>
                          </a:solidFill>
                          <a:effectLst/>
                        </a:rPr>
                        <a:t>Business Impact</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tc>
                  <a:txBody>
                    <a:bodyPr/>
                    <a:lstStyle/>
                    <a:p>
                      <a:pPr marL="35560" algn="l" fontAlgn="b"/>
                      <a:r>
                        <a:rPr lang="en-GB" sz="1100" b="1" u="none" strike="noStrike" dirty="0">
                          <a:solidFill>
                            <a:schemeClr val="bg1"/>
                          </a:solidFill>
                          <a:effectLst/>
                        </a:rPr>
                        <a:t>Risk</a:t>
                      </a:r>
                      <a:endParaRPr lang="en-GB" sz="1100" b="1" i="0" u="none" strike="noStrike" dirty="0">
                        <a:solidFill>
                          <a:schemeClr val="bg1"/>
                        </a:solidFill>
                        <a:effectLst/>
                        <a:latin typeface="Calibri" panose="020F0502020204030204" pitchFamily="34" charset="0"/>
                      </a:endParaRPr>
                    </a:p>
                  </a:txBody>
                  <a:tcPr marL="0" marR="0" marT="0" marB="0" anchor="ctr">
                    <a:solidFill>
                      <a:srgbClr val="1392B3"/>
                    </a:solidFill>
                  </a:tcPr>
                </a:tc>
                <a:extLst>
                  <a:ext uri="{0D108BD9-81ED-4DB2-BD59-A6C34878D82A}">
                    <a16:rowId xmlns:a16="http://schemas.microsoft.com/office/drawing/2014/main" val="3134398620"/>
                  </a:ext>
                </a:extLst>
              </a:tr>
              <a:tr h="369910">
                <a:tc>
                  <a:txBody>
                    <a:bodyPr/>
                    <a:lstStyle/>
                    <a:p>
                      <a:pPr marL="35560" algn="l" fontAlgn="b"/>
                      <a:r>
                        <a:rPr lang="en-GB" sz="1050" u="none" strike="noStrike" dirty="0">
                          <a:solidFill>
                            <a:schemeClr val="bg2">
                              <a:lumMod val="10000"/>
                            </a:schemeClr>
                          </a:solidFill>
                          <a:effectLst/>
                        </a:rPr>
                        <a:t>Dynamics FO Example –  automation GL allocations</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Posting of project invoices</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Standard</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Extension</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To expand standard GL allocation functionality by adding parameters and a batch job</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b="0" i="0" u="none" strike="noStrike" dirty="0">
                          <a:solidFill>
                            <a:schemeClr val="bg2">
                              <a:lumMod val="10000"/>
                            </a:schemeClr>
                          </a:solidFill>
                          <a:effectLst/>
                          <a:latin typeface="+mn-lt"/>
                        </a:rPr>
                        <a:t>Yes</a:t>
                      </a:r>
                    </a:p>
                  </a:txBody>
                  <a:tcPr marL="0" marR="0" marT="0" marB="0"/>
                </a:tc>
                <a:tc>
                  <a:txBody>
                    <a:bodyPr/>
                    <a:lstStyle/>
                    <a:p>
                      <a:pPr marL="35560" algn="l" fontAlgn="b"/>
                      <a:r>
                        <a:rPr lang="en-GB" sz="1050" b="0" i="0" u="none" strike="noStrike" dirty="0">
                          <a:solidFill>
                            <a:schemeClr val="bg2">
                              <a:lumMod val="10000"/>
                            </a:schemeClr>
                          </a:solidFill>
                          <a:effectLst/>
                          <a:latin typeface="+mn-lt"/>
                        </a:rPr>
                        <a:t>High</a:t>
                      </a:r>
                    </a:p>
                  </a:txBody>
                  <a:tcPr marL="0" marR="0" marT="0" marB="0"/>
                </a:tc>
                <a:tc>
                  <a:txBody>
                    <a:bodyPr/>
                    <a:lstStyle/>
                    <a:p>
                      <a:pPr marL="35560" algn="l" fontAlgn="b"/>
                      <a:r>
                        <a:rPr lang="en-GB" sz="1050" b="0" i="0" u="none" strike="noStrike" dirty="0">
                          <a:solidFill>
                            <a:schemeClr val="bg2">
                              <a:lumMod val="10000"/>
                            </a:schemeClr>
                          </a:solidFill>
                          <a:effectLst/>
                          <a:latin typeface="Calibri"/>
                        </a:rPr>
                        <a:t>Medium</a:t>
                      </a:r>
                    </a:p>
                  </a:txBody>
                  <a:tcPr marL="0" marR="0" marT="0" marB="0"/>
                </a:tc>
                <a:tc>
                  <a:txBody>
                    <a:bodyPr/>
                    <a:lstStyle/>
                    <a:p>
                      <a:pPr marL="35560" algn="l" fontAlgn="b"/>
                      <a:r>
                        <a:rPr lang="en-GB" sz="1050" u="none" strike="noStrike" dirty="0">
                          <a:solidFill>
                            <a:schemeClr val="bg2">
                              <a:lumMod val="10000"/>
                            </a:schemeClr>
                          </a:solidFill>
                          <a:effectLst/>
                        </a:rPr>
                        <a:t>Low</a:t>
                      </a:r>
                      <a:endParaRPr lang="en-GB" sz="1050" b="0" i="0" u="none" strike="noStrike" dirty="0">
                        <a:solidFill>
                          <a:schemeClr val="bg2">
                            <a:lumMod val="10000"/>
                          </a:schemeClr>
                        </a:solidFill>
                        <a:effectLst/>
                        <a:latin typeface="Calibri"/>
                      </a:endParaRPr>
                    </a:p>
                  </a:txBody>
                  <a:tcPr marL="0" marR="0" marT="0" marB="0"/>
                </a:tc>
                <a:extLst>
                  <a:ext uri="{0D108BD9-81ED-4DB2-BD59-A6C34878D82A}">
                    <a16:rowId xmlns:a16="http://schemas.microsoft.com/office/drawing/2014/main" val="2748871386"/>
                  </a:ext>
                </a:extLst>
              </a:tr>
              <a:tr h="401900">
                <a:tc>
                  <a:txBody>
                    <a:bodyPr/>
                    <a:lstStyle/>
                    <a:p>
                      <a:pPr marL="35560" algn="l" fontAlgn="b"/>
                      <a:r>
                        <a:rPr lang="en-GB" sz="1050" u="none" strike="noStrike" dirty="0">
                          <a:solidFill>
                            <a:schemeClr val="bg2">
                              <a:lumMod val="10000"/>
                            </a:schemeClr>
                          </a:solidFill>
                          <a:effectLst/>
                        </a:rPr>
                        <a:t>Dynamics FO Example 2 – integration with banking systems</a:t>
                      </a:r>
                    </a:p>
                  </a:txBody>
                  <a:tcPr marL="0" marR="0" marT="0" marB="0"/>
                </a:tc>
                <a:tc>
                  <a:txBody>
                    <a:bodyPr/>
                    <a:lstStyle/>
                    <a:p>
                      <a:pPr marL="35560" algn="l" fontAlgn="b"/>
                      <a:r>
                        <a:rPr lang="en-GB" sz="1050" b="0" i="0" u="none" strike="noStrike" dirty="0">
                          <a:solidFill>
                            <a:schemeClr val="bg2">
                              <a:lumMod val="10000"/>
                            </a:schemeClr>
                          </a:solidFill>
                          <a:effectLst/>
                          <a:latin typeface="Calibri"/>
                        </a:rPr>
                        <a:t>Customer and vendor payments</a:t>
                      </a:r>
                    </a:p>
                  </a:txBody>
                  <a:tcPr marL="0" marR="0" marT="0" marB="0"/>
                </a:tc>
                <a:tc>
                  <a:txBody>
                    <a:bodyPr/>
                    <a:lstStyle/>
                    <a:p>
                      <a:pPr marL="35560" algn="l" fontAlgn="b"/>
                      <a:r>
                        <a:rPr lang="en-GB" sz="1050" u="none" strike="noStrike" dirty="0">
                          <a:solidFill>
                            <a:schemeClr val="bg2">
                              <a:lumMod val="10000"/>
                            </a:schemeClr>
                          </a:solidFill>
                          <a:effectLst/>
                        </a:rPr>
                        <a:t>Standard</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ISV</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AMC Banking</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b="0" i="0" u="none" strike="noStrike" dirty="0">
                          <a:solidFill>
                            <a:schemeClr val="bg2">
                              <a:lumMod val="10000"/>
                            </a:schemeClr>
                          </a:solidFill>
                          <a:effectLst/>
                          <a:latin typeface="+mn-lt"/>
                        </a:rPr>
                        <a:t>No</a:t>
                      </a:r>
                    </a:p>
                  </a:txBody>
                  <a:tcPr marL="0" marR="0" marT="0" marB="0"/>
                </a:tc>
                <a:tc>
                  <a:txBody>
                    <a:bodyPr/>
                    <a:lstStyle/>
                    <a:p>
                      <a:pPr marL="35560" algn="l" fontAlgn="b"/>
                      <a:r>
                        <a:rPr lang="en-GB" sz="1050" b="0" i="0" u="none" strike="noStrike" dirty="0">
                          <a:solidFill>
                            <a:schemeClr val="bg2">
                              <a:lumMod val="10000"/>
                            </a:schemeClr>
                          </a:solidFill>
                          <a:effectLst/>
                          <a:latin typeface="+mn-lt"/>
                        </a:rPr>
                        <a:t>Medium</a:t>
                      </a:r>
                    </a:p>
                  </a:txBody>
                  <a:tcPr marL="0" marR="0" marT="0" marB="0"/>
                </a:tc>
                <a:tc>
                  <a:txBody>
                    <a:bodyPr/>
                    <a:lstStyle/>
                    <a:p>
                      <a:pPr marL="35560" algn="l" fontAlgn="b"/>
                      <a:r>
                        <a:rPr lang="en-GB" sz="1050" u="none" strike="noStrike" dirty="0">
                          <a:solidFill>
                            <a:schemeClr val="bg2">
                              <a:lumMod val="10000"/>
                            </a:schemeClr>
                          </a:solidFill>
                          <a:effectLst/>
                        </a:rPr>
                        <a:t>Medium</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Medium</a:t>
                      </a:r>
                      <a:endParaRPr lang="en-GB" sz="1050" b="0" i="0" u="none" strike="noStrike" dirty="0">
                        <a:solidFill>
                          <a:schemeClr val="bg2">
                            <a:lumMod val="10000"/>
                          </a:schemeClr>
                        </a:solidFill>
                        <a:effectLst/>
                        <a:latin typeface="Calibri"/>
                      </a:endParaRPr>
                    </a:p>
                  </a:txBody>
                  <a:tcPr marL="0" marR="0" marT="0" marB="0"/>
                </a:tc>
                <a:extLst>
                  <a:ext uri="{0D108BD9-81ED-4DB2-BD59-A6C34878D82A}">
                    <a16:rowId xmlns:a16="http://schemas.microsoft.com/office/drawing/2014/main" val="2866204318"/>
                  </a:ext>
                </a:extLst>
              </a:tr>
              <a:tr h="0">
                <a:tc>
                  <a:txBody>
                    <a:bodyPr/>
                    <a:lstStyle/>
                    <a:p>
                      <a:pPr marL="35560" algn="l" fontAlgn="b"/>
                      <a:r>
                        <a:rPr lang="en-GB" sz="1050" u="none" strike="noStrike" dirty="0">
                          <a:solidFill>
                            <a:schemeClr val="bg2">
                              <a:lumMod val="10000"/>
                            </a:schemeClr>
                          </a:solidFill>
                          <a:effectLst/>
                        </a:rPr>
                        <a:t>Dynamics FO Example 3 – integration with Bank of China</a:t>
                      </a:r>
                    </a:p>
                  </a:txBody>
                  <a:tcPr marL="0" marR="0" marT="0" marB="0"/>
                </a:tc>
                <a:tc>
                  <a:txBody>
                    <a:bodyPr/>
                    <a:lstStyle/>
                    <a:p>
                      <a:pPr marL="35560" algn="l" fontAlgn="b"/>
                      <a:r>
                        <a:rPr lang="en-GB" sz="1050" b="0" i="0" u="none" strike="noStrike" dirty="0">
                          <a:solidFill>
                            <a:schemeClr val="bg2">
                              <a:lumMod val="10000"/>
                            </a:schemeClr>
                          </a:solidFill>
                          <a:effectLst/>
                          <a:latin typeface="Calibri"/>
                        </a:rPr>
                        <a:t>Vendor payments in China</a:t>
                      </a:r>
                    </a:p>
                  </a:txBody>
                  <a:tcPr marL="0" marR="0" marT="0" marB="0"/>
                </a:tc>
                <a:tc>
                  <a:txBody>
                    <a:bodyPr/>
                    <a:lstStyle/>
                    <a:p>
                      <a:pPr marL="35560" algn="l" fontAlgn="b"/>
                      <a:r>
                        <a:rPr lang="en-GB" sz="1050" u="none" strike="noStrike" dirty="0">
                          <a:solidFill>
                            <a:schemeClr val="bg2">
                              <a:lumMod val="10000"/>
                            </a:schemeClr>
                          </a:solidFill>
                          <a:effectLst/>
                        </a:rPr>
                        <a:t>ISV</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Extension</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kern="1200" dirty="0">
                          <a:solidFill>
                            <a:schemeClr val="bg2">
                              <a:lumMod val="10000"/>
                            </a:schemeClr>
                          </a:solidFill>
                          <a:effectLst/>
                          <a:latin typeface="+mn-lt"/>
                          <a:ea typeface="+mn-ea"/>
                          <a:cs typeface="+mn-cs"/>
                        </a:rPr>
                        <a:t>AMC-Consult will extend their functionality to support required integration with Bank of China</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b="0" i="0" u="none" strike="noStrike" dirty="0">
                          <a:solidFill>
                            <a:schemeClr val="bg2">
                              <a:lumMod val="10000"/>
                            </a:schemeClr>
                          </a:solidFill>
                          <a:effectLst/>
                          <a:latin typeface="+mn-lt"/>
                        </a:rPr>
                        <a:t>Yes</a:t>
                      </a:r>
                    </a:p>
                  </a:txBody>
                  <a:tcPr marL="0" marR="0" marT="0" marB="0"/>
                </a:tc>
                <a:tc>
                  <a:txBody>
                    <a:bodyPr/>
                    <a:lstStyle/>
                    <a:p>
                      <a:pPr marL="35560" algn="l" fontAlgn="b"/>
                      <a:r>
                        <a:rPr lang="en-GB" sz="1050" b="0" i="0" u="none" strike="noStrike" dirty="0">
                          <a:solidFill>
                            <a:schemeClr val="bg2">
                              <a:lumMod val="10000"/>
                            </a:schemeClr>
                          </a:solidFill>
                          <a:effectLst/>
                          <a:latin typeface="+mn-lt"/>
                        </a:rPr>
                        <a:t>Medium</a:t>
                      </a:r>
                    </a:p>
                  </a:txBody>
                  <a:tcPr marL="0" marR="0" marT="0" marB="0"/>
                </a:tc>
                <a:tc>
                  <a:txBody>
                    <a:bodyPr/>
                    <a:lstStyle/>
                    <a:p>
                      <a:pPr marL="35560" algn="l" fontAlgn="b"/>
                      <a:r>
                        <a:rPr lang="en-GB" sz="1050" u="none" strike="noStrike" dirty="0">
                          <a:solidFill>
                            <a:schemeClr val="bg2">
                              <a:lumMod val="10000"/>
                            </a:schemeClr>
                          </a:solidFill>
                          <a:effectLst/>
                        </a:rPr>
                        <a:t>High</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High</a:t>
                      </a:r>
                      <a:endParaRPr lang="en-GB" sz="1050" b="0" i="0" u="none" strike="noStrike" dirty="0">
                        <a:solidFill>
                          <a:schemeClr val="bg2">
                            <a:lumMod val="10000"/>
                          </a:schemeClr>
                        </a:solidFill>
                        <a:effectLst/>
                        <a:latin typeface="Calibri"/>
                      </a:endParaRPr>
                    </a:p>
                  </a:txBody>
                  <a:tcPr marL="0" marR="0" marT="0" marB="0"/>
                </a:tc>
                <a:extLst>
                  <a:ext uri="{0D108BD9-81ED-4DB2-BD59-A6C34878D82A}">
                    <a16:rowId xmlns:a16="http://schemas.microsoft.com/office/drawing/2014/main" val="3666452339"/>
                  </a:ext>
                </a:extLst>
              </a:tr>
              <a:tr h="436593">
                <a:tc>
                  <a:txBody>
                    <a:bodyPr/>
                    <a:lstStyle/>
                    <a:p>
                      <a:pPr marL="35560" algn="l" fontAlgn="b"/>
                      <a:r>
                        <a:rPr lang="en-GB" sz="1050" u="none" strike="noStrike" dirty="0">
                          <a:solidFill>
                            <a:schemeClr val="bg2">
                              <a:lumMod val="10000"/>
                            </a:schemeClr>
                          </a:solidFill>
                          <a:effectLst/>
                        </a:rPr>
                        <a:t>Dynamics CE Example – Required field validation </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Adding a new customer table record</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Standard</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Extension</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u="none" strike="noStrike" dirty="0">
                          <a:solidFill>
                            <a:schemeClr val="bg2">
                              <a:lumMod val="10000"/>
                            </a:schemeClr>
                          </a:solidFill>
                          <a:effectLst/>
                        </a:rPr>
                        <a:t>Jscript or Plugin to validate fields on form</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b="0" i="0" u="none" strike="noStrike" dirty="0">
                          <a:solidFill>
                            <a:schemeClr val="bg2">
                              <a:lumMod val="10000"/>
                            </a:schemeClr>
                          </a:solidFill>
                          <a:effectLst/>
                          <a:latin typeface="+mn-lt"/>
                        </a:rPr>
                        <a:t>Yes</a:t>
                      </a:r>
                    </a:p>
                  </a:txBody>
                  <a:tcPr marL="0" marR="0" marT="0" marB="0"/>
                </a:tc>
                <a:tc>
                  <a:txBody>
                    <a:bodyPr/>
                    <a:lstStyle/>
                    <a:p>
                      <a:pPr marL="35560" algn="l" fontAlgn="b"/>
                      <a:r>
                        <a:rPr lang="en-GB" sz="1050" b="0" i="0" u="none" strike="noStrike" dirty="0">
                          <a:solidFill>
                            <a:schemeClr val="bg2">
                              <a:lumMod val="10000"/>
                            </a:schemeClr>
                          </a:solidFill>
                          <a:effectLst/>
                          <a:latin typeface="+mn-lt"/>
                        </a:rPr>
                        <a:t>Medium</a:t>
                      </a:r>
                    </a:p>
                  </a:txBody>
                  <a:tcPr marL="0" marR="0" marT="0" marB="0"/>
                </a:tc>
                <a:tc>
                  <a:txBody>
                    <a:bodyPr/>
                    <a:lstStyle/>
                    <a:p>
                      <a:pPr marL="35560" algn="l" fontAlgn="b"/>
                      <a:r>
                        <a:rPr lang="en-GB" sz="1050" u="none" strike="noStrike" dirty="0">
                          <a:solidFill>
                            <a:schemeClr val="bg2">
                              <a:lumMod val="10000"/>
                            </a:schemeClr>
                          </a:solidFill>
                          <a:effectLst/>
                        </a:rPr>
                        <a:t>High</a:t>
                      </a:r>
                      <a:endParaRPr lang="en-GB" sz="1050" b="0" i="0" u="none" strike="noStrike" dirty="0">
                        <a:solidFill>
                          <a:schemeClr val="bg2">
                            <a:lumMod val="10000"/>
                          </a:schemeClr>
                        </a:solidFill>
                        <a:effectLst/>
                        <a:latin typeface="Calibri"/>
                      </a:endParaRPr>
                    </a:p>
                  </a:txBody>
                  <a:tcPr marL="0" marR="0" marT="0" marB="0"/>
                </a:tc>
                <a:tc>
                  <a:txBody>
                    <a:bodyPr/>
                    <a:lstStyle/>
                    <a:p>
                      <a:pPr marL="35560" algn="l" fontAlgn="b"/>
                      <a:r>
                        <a:rPr lang="en-GB" sz="1050" b="0" i="0" u="none" strike="noStrike" dirty="0">
                          <a:solidFill>
                            <a:schemeClr val="bg2">
                              <a:lumMod val="10000"/>
                            </a:schemeClr>
                          </a:solidFill>
                          <a:effectLst/>
                          <a:latin typeface="Calibri"/>
                        </a:rPr>
                        <a:t>Low</a:t>
                      </a:r>
                    </a:p>
                  </a:txBody>
                  <a:tcPr marL="0" marR="0" marT="0" marB="0"/>
                </a:tc>
                <a:extLst>
                  <a:ext uri="{0D108BD9-81ED-4DB2-BD59-A6C34878D82A}">
                    <a16:rowId xmlns:a16="http://schemas.microsoft.com/office/drawing/2014/main" val="2292335579"/>
                  </a:ext>
                </a:extLst>
              </a:tr>
              <a:tr h="687338">
                <a:tc>
                  <a:txBody>
                    <a:bodyPr/>
                    <a:lstStyle/>
                    <a:p>
                      <a:pPr marL="35560" algn="l" fontAlgn="b"/>
                      <a:r>
                        <a:rPr lang="en-GB" sz="1050" u="none" strike="noStrike" dirty="0">
                          <a:solidFill>
                            <a:schemeClr val="bg2">
                              <a:lumMod val="10000"/>
                            </a:schemeClr>
                          </a:solidFill>
                          <a:effectLst/>
                          <a:latin typeface="+mn-lt"/>
                        </a:rPr>
                        <a:t>Dynamics CE Example 2 </a:t>
                      </a:r>
                      <a:r>
                        <a:rPr lang="en-GB" sz="1050" u="none" strike="noStrike" dirty="0">
                          <a:solidFill>
                            <a:schemeClr val="bg2">
                              <a:lumMod val="10000"/>
                            </a:schemeClr>
                          </a:solidFill>
                          <a:effectLst/>
                        </a:rPr>
                        <a:t>–</a:t>
                      </a:r>
                      <a:r>
                        <a:rPr lang="en-GB" sz="1050" u="none" strike="noStrike" dirty="0">
                          <a:solidFill>
                            <a:schemeClr val="bg2">
                              <a:lumMod val="10000"/>
                            </a:schemeClr>
                          </a:solidFill>
                          <a:effectLst/>
                          <a:latin typeface="+mn-lt"/>
                        </a:rPr>
                        <a:t> Solution for geo mapping multiple customer locations on single map</a:t>
                      </a:r>
                      <a:endParaRPr lang="en-GB" sz="1050" b="0" i="0" u="none" strike="noStrike" dirty="0">
                        <a:solidFill>
                          <a:schemeClr val="bg2">
                            <a:lumMod val="10000"/>
                          </a:schemeClr>
                        </a:solidFill>
                        <a:effectLst/>
                        <a:latin typeface="+mn-lt"/>
                      </a:endParaRPr>
                    </a:p>
                  </a:txBody>
                  <a:tcPr marL="0" marR="0" marT="0" marB="0"/>
                </a:tc>
                <a:tc>
                  <a:txBody>
                    <a:bodyPr/>
                    <a:lstStyle/>
                    <a:p>
                      <a:pPr marL="35560" algn="l" fontAlgn="b"/>
                      <a:r>
                        <a:rPr lang="en-GB" sz="1050" u="none" strike="noStrike" dirty="0">
                          <a:solidFill>
                            <a:schemeClr val="bg2">
                              <a:lumMod val="10000"/>
                            </a:schemeClr>
                          </a:solidFill>
                          <a:effectLst/>
                          <a:latin typeface="+mn-lt"/>
                        </a:rPr>
                        <a:t>Support for location tracking on accounts</a:t>
                      </a:r>
                      <a:endParaRPr lang="en-GB" sz="1050" b="0" i="0" u="none" strike="noStrike" dirty="0">
                        <a:solidFill>
                          <a:schemeClr val="bg2">
                            <a:lumMod val="10000"/>
                          </a:schemeClr>
                        </a:solidFill>
                        <a:effectLst/>
                        <a:latin typeface="+mn-lt"/>
                      </a:endParaRPr>
                    </a:p>
                  </a:txBody>
                  <a:tcPr marL="0" marR="0" marT="0" marB="0"/>
                </a:tc>
                <a:tc>
                  <a:txBody>
                    <a:bodyPr/>
                    <a:lstStyle/>
                    <a:p>
                      <a:pPr marL="35560" algn="l" fontAlgn="b"/>
                      <a:r>
                        <a:rPr lang="en-GB" sz="1050" b="0" i="0" u="none" strike="noStrike" dirty="0">
                          <a:solidFill>
                            <a:schemeClr val="bg2">
                              <a:lumMod val="10000"/>
                            </a:schemeClr>
                          </a:solidFill>
                          <a:effectLst/>
                          <a:latin typeface="+mn-lt"/>
                        </a:rPr>
                        <a:t>Standard</a:t>
                      </a:r>
                    </a:p>
                  </a:txBody>
                  <a:tcPr marL="0" marR="0" marT="0" marB="0"/>
                </a:tc>
                <a:tc>
                  <a:txBody>
                    <a:bodyPr/>
                    <a:lstStyle/>
                    <a:p>
                      <a:pPr marL="35560" algn="l" fontAlgn="b"/>
                      <a:r>
                        <a:rPr lang="en-GB" sz="1050" b="0" i="0" u="none" strike="noStrike" dirty="0">
                          <a:solidFill>
                            <a:schemeClr val="bg2">
                              <a:lumMod val="10000"/>
                            </a:schemeClr>
                          </a:solidFill>
                          <a:effectLst/>
                          <a:latin typeface="+mn-lt"/>
                        </a:rPr>
                        <a:t>ISV</a:t>
                      </a:r>
                    </a:p>
                  </a:txBody>
                  <a:tcPr marL="0" marR="0" marT="0" marB="0"/>
                </a:tc>
                <a:tc>
                  <a:txBody>
                    <a:bodyPr/>
                    <a:lstStyle/>
                    <a:p>
                      <a:pPr marL="35560" algn="l" fontAlgn="b"/>
                      <a:r>
                        <a:rPr lang="en-GB" sz="1050" b="0" i="0" u="none" strike="noStrike" dirty="0">
                          <a:solidFill>
                            <a:schemeClr val="bg2">
                              <a:lumMod val="10000"/>
                            </a:schemeClr>
                          </a:solidFill>
                          <a:effectLst/>
                          <a:latin typeface="+mn-lt"/>
                        </a:rPr>
                        <a:t>Geo mapping ISV solution</a:t>
                      </a:r>
                    </a:p>
                  </a:txBody>
                  <a:tcPr marL="0" marR="0" marT="0" marB="0"/>
                </a:tc>
                <a:tc>
                  <a:txBody>
                    <a:bodyPr/>
                    <a:lstStyle/>
                    <a:p>
                      <a:pPr marL="35560" algn="l" fontAlgn="b"/>
                      <a:r>
                        <a:rPr lang="en-GB" sz="1050" b="0" i="0" u="none" strike="noStrike" dirty="0">
                          <a:solidFill>
                            <a:schemeClr val="bg2">
                              <a:lumMod val="10000"/>
                            </a:schemeClr>
                          </a:solidFill>
                          <a:effectLst/>
                          <a:latin typeface="+mn-lt"/>
                        </a:rPr>
                        <a:t>No</a:t>
                      </a:r>
                    </a:p>
                  </a:txBody>
                  <a:tcPr marL="0" marR="0" marT="0" marB="0"/>
                </a:tc>
                <a:tc>
                  <a:txBody>
                    <a:bodyPr/>
                    <a:lstStyle/>
                    <a:p>
                      <a:pPr marL="35560" algn="l" fontAlgn="b"/>
                      <a:r>
                        <a:rPr lang="en-GB" sz="1050" b="0" i="0" u="none" strike="noStrike" dirty="0">
                          <a:solidFill>
                            <a:schemeClr val="bg2">
                              <a:lumMod val="10000"/>
                            </a:schemeClr>
                          </a:solidFill>
                          <a:effectLst/>
                          <a:latin typeface="+mn-lt"/>
                        </a:rPr>
                        <a:t>Medium</a:t>
                      </a:r>
                    </a:p>
                  </a:txBody>
                  <a:tcPr marL="0" marR="0" marT="0" marB="0"/>
                </a:tc>
                <a:tc>
                  <a:txBody>
                    <a:bodyPr/>
                    <a:lstStyle/>
                    <a:p>
                      <a:pPr marL="35560" algn="l" fontAlgn="b"/>
                      <a:r>
                        <a:rPr lang="en-GB" sz="1050" b="0" i="0" u="none" strike="noStrike" dirty="0">
                          <a:solidFill>
                            <a:schemeClr val="bg2">
                              <a:lumMod val="10000"/>
                            </a:schemeClr>
                          </a:solidFill>
                          <a:effectLst/>
                          <a:latin typeface="+mn-lt"/>
                        </a:rPr>
                        <a:t>Medium</a:t>
                      </a:r>
                    </a:p>
                  </a:txBody>
                  <a:tcPr marL="0" marR="0" marT="0" marB="0"/>
                </a:tc>
                <a:tc>
                  <a:txBody>
                    <a:bodyPr/>
                    <a:lstStyle/>
                    <a:p>
                      <a:pPr marL="35560" algn="l" fontAlgn="b"/>
                      <a:r>
                        <a:rPr lang="en-GB" sz="1050" u="none" strike="noStrike" dirty="0">
                          <a:solidFill>
                            <a:schemeClr val="bg2">
                              <a:lumMod val="10000"/>
                            </a:schemeClr>
                          </a:solidFill>
                          <a:effectLst/>
                          <a:latin typeface="+mn-lt"/>
                        </a:rPr>
                        <a:t>Low</a:t>
                      </a:r>
                      <a:endParaRPr lang="en-GB" sz="1050" b="0" i="0" u="none" strike="noStrike" dirty="0">
                        <a:solidFill>
                          <a:schemeClr val="bg2">
                            <a:lumMod val="10000"/>
                          </a:schemeClr>
                        </a:solidFill>
                        <a:effectLst/>
                        <a:latin typeface="+mn-lt"/>
                      </a:endParaRPr>
                    </a:p>
                  </a:txBody>
                  <a:tcPr marL="0" marR="0" marT="0" marB="0"/>
                </a:tc>
                <a:extLst>
                  <a:ext uri="{0D108BD9-81ED-4DB2-BD59-A6C34878D82A}">
                    <a16:rowId xmlns:a16="http://schemas.microsoft.com/office/drawing/2014/main" val="2590786738"/>
                  </a:ext>
                </a:extLst>
              </a:tr>
              <a:tr h="327940">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extLst>
                  <a:ext uri="{0D108BD9-81ED-4DB2-BD59-A6C34878D82A}">
                    <a16:rowId xmlns:a16="http://schemas.microsoft.com/office/drawing/2014/main" val="2653508047"/>
                  </a:ext>
                </a:extLst>
              </a:tr>
              <a:tr h="327940">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extLst>
                  <a:ext uri="{0D108BD9-81ED-4DB2-BD59-A6C34878D82A}">
                    <a16:rowId xmlns:a16="http://schemas.microsoft.com/office/drawing/2014/main" val="3027936484"/>
                  </a:ext>
                </a:extLst>
              </a:tr>
              <a:tr h="327940">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tc>
                  <a:txBody>
                    <a:bodyPr/>
                    <a:lstStyle/>
                    <a:p>
                      <a:pPr marL="35560" algn="l" fontAlgn="b"/>
                      <a:endParaRPr lang="en-GB" sz="1050" b="0" i="0" u="none" strike="noStrike" dirty="0">
                        <a:solidFill>
                          <a:schemeClr val="bg2">
                            <a:lumMod val="10000"/>
                          </a:schemeClr>
                        </a:solidFill>
                        <a:effectLst/>
                        <a:latin typeface="Segoe UI"/>
                      </a:endParaRPr>
                    </a:p>
                  </a:txBody>
                  <a:tcPr marL="0" marR="0" marT="0" marB="0"/>
                </a:tc>
                <a:extLst>
                  <a:ext uri="{0D108BD9-81ED-4DB2-BD59-A6C34878D82A}">
                    <a16:rowId xmlns:a16="http://schemas.microsoft.com/office/drawing/2014/main" val="3432238428"/>
                  </a:ext>
                </a:extLst>
              </a:tr>
            </a:tbl>
          </a:graphicData>
        </a:graphic>
      </p:graphicFrame>
      <p:sp>
        <p:nvSpPr>
          <p:cNvPr id="5" name="TextBox 4">
            <a:extLst>
              <a:ext uri="{FF2B5EF4-FFF2-40B4-BE49-F238E27FC236}">
                <a16:creationId xmlns:a16="http://schemas.microsoft.com/office/drawing/2014/main" id="{DE90AA16-4FC3-4506-836C-0A36A9087C41}"/>
              </a:ext>
            </a:extLst>
          </p:cNvPr>
          <p:cNvSpPr txBox="1"/>
          <p:nvPr/>
        </p:nvSpPr>
        <p:spPr>
          <a:xfrm>
            <a:off x="144624" y="5991808"/>
            <a:ext cx="4274974" cy="5170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1600">
                <a:gradFill>
                  <a:gsLst>
                    <a:gs pos="2917">
                      <a:schemeClr val="tx1"/>
                    </a:gs>
                    <a:gs pos="30000">
                      <a:schemeClr val="tx1"/>
                    </a:gs>
                  </a:gsLst>
                  <a:lin ang="5400000" scaled="0"/>
                </a:gradFill>
                <a:cs typeface="Segoe UI"/>
              </a:rPr>
              <a:t>*Replace examples above</a:t>
            </a: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a:t>
            </a:r>
            <a:r>
              <a:rPr lang="en-GB" dirty="0">
                <a:solidFill>
                  <a:schemeClr val="bg2">
                    <a:lumMod val="10000"/>
                  </a:schemeClr>
                </a:solidFill>
              </a:rPr>
              <a:t>1</a:t>
            </a:r>
            <a:r>
              <a:rPr lang="en-GB" sz="4000" dirty="0">
                <a:solidFill>
                  <a:schemeClr val="bg2">
                    <a:lumMod val="10000"/>
                  </a:schemeClr>
                </a:solidFill>
              </a:rPr>
              <a:t>: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85621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2: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004957" y="4297687"/>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236612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3: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342643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bg2">
                    <a:lumMod val="10000"/>
                  </a:schemeClr>
                </a:solidFill>
              </a:rPr>
              <a:t>Gap Solution #4: Title of the gap</a:t>
            </a: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dirty="0">
                <a:solidFill>
                  <a:schemeClr val="bg2">
                    <a:lumMod val="10000"/>
                  </a:schemeClr>
                </a:solidFill>
                <a:latin typeface="+mj-lt"/>
              </a:rPr>
              <a:t>Customer slide (please update)</a:t>
            </a:r>
            <a:endParaRPr lang="en-US" sz="2000" dirty="0">
              <a:solidFill>
                <a:schemeClr val="bg2">
                  <a:lumMod val="10000"/>
                </a:schemeClr>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dirty="0">
                  <a:solidFill>
                    <a:schemeClr val="bg2">
                      <a:lumMod val="10000"/>
                    </a:schemeClr>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Add business requirement and process information</a:t>
              </a:r>
              <a:endParaRPr lang="en-US" sz="2000" b="1" dirty="0">
                <a:solidFill>
                  <a:schemeClr val="bg1"/>
                </a:solidFill>
              </a:endParaRPr>
            </a:p>
          </p:txBody>
        </p:sp>
      </p:grpSp>
      <p:grpSp>
        <p:nvGrpSpPr>
          <p:cNvPr id="12" name="Group 11">
            <a:extLst>
              <a:ext uri="{FF2B5EF4-FFF2-40B4-BE49-F238E27FC236}">
                <a16:creationId xmlns:a16="http://schemas.microsoft.com/office/drawing/2014/main" id="{9DF4793B-AFEC-46EE-9F44-A21420608D69}"/>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Dependency on other solution components?</a:t>
              </a:r>
            </a:p>
            <a:p>
              <a:pPr algn="ctr"/>
              <a:r>
                <a:rPr lang="en-US" sz="1200" dirty="0">
                  <a:solidFill>
                    <a:schemeClr val="bg2">
                      <a:lumMod val="10000"/>
                    </a:schemeClr>
                  </a:solidFill>
                </a:rPr>
                <a:t>Performance impacts?</a:t>
              </a:r>
            </a:p>
            <a:p>
              <a:pPr algn="ctr"/>
              <a:r>
                <a:rPr lang="en-US" sz="1200" dirty="0">
                  <a:solidFill>
                    <a:schemeClr val="bg2">
                      <a:lumMod val="10000"/>
                    </a:schemeClr>
                  </a:solidFill>
                </a:rPr>
                <a:t>Added complexity to the business process?</a:t>
              </a:r>
            </a:p>
            <a:p>
              <a:pPr algn="ctr"/>
              <a:r>
                <a:rPr lang="en-US" sz="1200" dirty="0">
                  <a:solidFill>
                    <a:schemeClr val="bg2">
                      <a:lumMod val="10000"/>
                    </a:schemeClr>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72391"/>
            </a:xfrm>
            <a:prstGeom prst="rect">
              <a:avLst/>
            </a:prstGeom>
            <a:solidFill>
              <a:srgbClr val="1392B3"/>
            </a:solidFill>
          </p:spPr>
          <p:txBody>
            <a:bodyPr wrap="square" lIns="182880" tIns="146304" rIns="182880" bIns="146304" rtlCol="0" anchor="t">
              <a:spAutoFit/>
            </a:bodyPr>
            <a:lstStyle/>
            <a:p>
              <a:pPr algn="ctr"/>
              <a:r>
                <a:rPr lang="en-US" b="1" dirty="0">
                  <a:solidFill>
                    <a:schemeClr val="bg1"/>
                  </a:solidFill>
                </a:rPr>
                <a:t>Risk considerations</a:t>
              </a:r>
              <a:endParaRPr lang="ru-RU" sz="2000" b="1" dirty="0">
                <a:solidFill>
                  <a:schemeClr val="bg1"/>
                </a:solidFill>
              </a:endParaRPr>
            </a:p>
          </p:txBody>
        </p:sp>
      </p:grpSp>
      <p:grpSp>
        <p:nvGrpSpPr>
          <p:cNvPr id="11" name="Group 10">
            <a:extLst>
              <a:ext uri="{FF2B5EF4-FFF2-40B4-BE49-F238E27FC236}">
                <a16:creationId xmlns:a16="http://schemas.microsoft.com/office/drawing/2014/main" id="{6504A98E-E14A-459E-A6D7-D40EC085CB99}"/>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dirty="0">
                  <a:solidFill>
                    <a:schemeClr val="bg2">
                      <a:lumMod val="10000"/>
                    </a:schemeClr>
                  </a:solidFill>
                </a:rPr>
                <a:t>Please update with information on the approach that is planned to fill this gap</a:t>
              </a:r>
              <a:endParaRPr lang="en-US" sz="1400" dirty="0">
                <a:solidFill>
                  <a:schemeClr val="bg2">
                    <a:lumMod val="10000"/>
                  </a:schemeClr>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rgbClr val="1392B3"/>
            </a:solidFill>
          </p:spPr>
          <p:txBody>
            <a:bodyPr wrap="square" lIns="182880" tIns="146304" rIns="182880" bIns="146304" rtlCol="0" anchor="t">
              <a:spAutoFit/>
            </a:bodyPr>
            <a:lstStyle/>
            <a:p>
              <a:pPr algn="ctr"/>
              <a:r>
                <a:rPr lang="en-US" sz="2000" b="1" dirty="0">
                  <a:solidFill>
                    <a:schemeClr val="bg1"/>
                  </a:solidFill>
                </a:rPr>
                <a:t>Solution details</a:t>
              </a:r>
            </a:p>
            <a:p>
              <a:pPr algn="ctr"/>
              <a:r>
                <a:rPr lang="en-US" sz="1100" b="1" dirty="0">
                  <a:solidFill>
                    <a:schemeClr val="bg1"/>
                  </a:solidFill>
                  <a:cs typeface="Segoe UI"/>
                </a:rPr>
                <a:t>Note: </a:t>
              </a:r>
              <a:r>
                <a:rPr lang="en-US" sz="1100" dirty="0">
                  <a:solidFill>
                    <a:schemeClr val="bg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dirty="0">
                <a:solidFill>
                  <a:schemeClr val="bg2">
                    <a:lumMod val="10000"/>
                  </a:schemeClr>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rgbClr val="1392B3"/>
          </a:solidFill>
        </p:spPr>
        <p:txBody>
          <a:bodyPr wrap="square" lIns="182880" tIns="146304" rIns="182880" bIns="146304" rtlCol="0">
            <a:spAutoFit/>
          </a:bodyPr>
          <a:lstStyle/>
          <a:p>
            <a:pPr algn="ctr"/>
            <a:r>
              <a:rPr lang="en-US" b="1" dirty="0">
                <a:solidFill>
                  <a:schemeClr val="bg1"/>
                </a:solidFill>
              </a:rPr>
              <a:t>What other options were considered?</a:t>
            </a:r>
            <a:endParaRPr lang="en-US" sz="2000" b="1" dirty="0">
              <a:solidFill>
                <a:schemeClr val="bg1"/>
              </a:solidFill>
            </a:endParaRPr>
          </a:p>
        </p:txBody>
      </p:sp>
    </p:spTree>
    <p:extLst>
      <p:ext uri="{BB962C8B-B14F-4D97-AF65-F5344CB8AC3E}">
        <p14:creationId xmlns:p14="http://schemas.microsoft.com/office/powerpoint/2010/main" val="2513655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8" ma:contentTypeDescription="Crée un document." ma:contentTypeScope="" ma:versionID="7c9472313940c07e45c4109cb65aad82">
  <xsd:schema xmlns:xsd="http://www.w3.org/2001/XMLSchema" xmlns:xs="http://www.w3.org/2001/XMLSchema" xmlns:p="http://schemas.microsoft.com/office/2006/metadata/properties" xmlns:ns1="http://schemas.microsoft.com/sharepoint/v3" xmlns:ns2="8e793c00-403c-4e2e-9f3f-1f9fce3bba0e" xmlns:ns3="21801293-8b26-4deb-98c0-71fc7c1e1877" xmlns:ns4="230e9df3-be65-4c73-a93b-d1236ebd677e" targetNamespace="http://schemas.microsoft.com/office/2006/metadata/properties" ma:root="true" ma:fieldsID="11597418ad19d186cc7282dbc93663a7" ns1:_="" ns2:_="" ns3:_="" ns4:_="">
    <xsd:import namespace="http://schemas.microsoft.com/sharepoint/v3"/>
    <xsd:import namespace="8e793c00-403c-4e2e-9f3f-1f9fce3bba0e"/>
    <xsd:import namespace="21801293-8b26-4deb-98c0-71fc7c1e187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Propriétés de la stratégie de conformité unifiée" ma:hidden="true" ma:internalName="_ip_UnifiedCompliancePolicyProperties">
      <xsd:simpleType>
        <xsd:restriction base="dms:Note"/>
      </xsd:simpleType>
    </xsd:element>
    <xsd:element name="_ip_UnifiedCompliancePolicyUIAction" ma:index="16"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418f9c09-66a8-4419-a52a-65cd19081897}" ma:internalName="TaxCatchAll" ma:showField="CatchAllData" ma:web="21801293-8b26-4deb-98c0-71fc7c1e18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e793c00-403c-4e2e-9f3f-1f9fce3bba0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2.xml><?xml version="1.0" encoding="utf-8"?>
<ds:datastoreItem xmlns:ds="http://schemas.openxmlformats.org/officeDocument/2006/customXml" ds:itemID="{772EDA7C-8C8B-428D-BC10-DC95180AE304}"/>
</file>

<file path=customXml/itemProps3.xml><?xml version="1.0" encoding="utf-8"?>
<ds:datastoreItem xmlns:ds="http://schemas.openxmlformats.org/officeDocument/2006/customXml" ds:itemID="{807D7729-9157-422A-A322-F886DC74C10E}">
  <ds:schemaRefs>
    <ds:schemaRef ds:uri="http://schemas.microsoft.com/office/2006/documentManagement/types"/>
    <ds:schemaRef ds:uri="http://purl.org/dc/elements/1.1/"/>
    <ds:schemaRef ds:uri="http://purl.org/dc/terms/"/>
    <ds:schemaRef ds:uri="http://schemas.microsoft.com/office/2006/metadata/properties"/>
    <ds:schemaRef ds:uri="http://schemas.openxmlformats.org/package/2006/metadata/core-properties"/>
    <ds:schemaRef ds:uri="http://schemas.microsoft.com/office/infopath/2007/PartnerControls"/>
    <ds:schemaRef ds:uri="21801293-8b26-4deb-98c0-71fc7c1e1877"/>
    <ds:schemaRef ds:uri="http://purl.org/dc/dcmitype/"/>
    <ds:schemaRef ds:uri="8e793c00-403c-4e2e-9f3f-1f9fce3bba0e"/>
    <ds:schemaRef ds:uri="http://schemas.microsoft.com/sharepoint/v3"/>
    <ds:schemaRef ds:uri="http://www.w3.org/XML/1998/namespace"/>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645</Words>
  <Application>Microsoft Office PowerPoint</Application>
  <PresentationFormat>Widescreen</PresentationFormat>
  <Paragraphs>246</Paragraphs>
  <Slides>16</Slides>
  <Notes>1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Calibri</vt:lpstr>
      <vt:lpstr>Segoe UI</vt:lpstr>
      <vt:lpstr>Segoe UI Semibold</vt:lpstr>
      <vt:lpstr>Microsoft Dynamics 365</vt:lpstr>
      <vt:lpstr>think-cell Slide</vt:lpstr>
      <vt:lpstr>Gap Solution Design Workshop</vt:lpstr>
      <vt:lpstr>Gap Solution Design Workshop Agenda</vt:lpstr>
      <vt:lpstr>Instructions for customer and partner</vt:lpstr>
      <vt:lpstr>Pre-requisites</vt:lpstr>
      <vt:lpstr>Top gaps / solutions</vt:lpstr>
      <vt:lpstr>Gap Solution #1: Title of the gap</vt:lpstr>
      <vt:lpstr>Gap Solution #2: Title of the gap</vt:lpstr>
      <vt:lpstr>Gap Solution #3: Title of the gap</vt:lpstr>
      <vt:lpstr>Gap Solution #4: Title of the gap</vt:lpstr>
      <vt:lpstr>Gap Solution #5: Title of the gap</vt:lpstr>
      <vt:lpstr>Gap Solution #6: Title of the gap</vt:lpstr>
      <vt:lpstr>Gap Solution #7: Title of the gap</vt:lpstr>
      <vt:lpstr>Gap Solution ##: Title of the gap</vt:lpstr>
      <vt:lpstr>Q&amp;A</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Reed Wolfe</cp:lastModifiedBy>
  <cp:revision>76</cp:revision>
  <dcterms:created xsi:type="dcterms:W3CDTF">2019-03-30T00:28:33Z</dcterms:created>
  <dcterms:modified xsi:type="dcterms:W3CDTF">2022-02-11T15:5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y fmtid="{D5CDD505-2E9C-101B-9397-08002B2CF9AE}" pid="4" name="MediaServiceImageTags">
    <vt:lpwstr/>
  </property>
</Properties>
</file>